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Default Extension="mp4" ContentType="video/mp4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277" r:id="rId5"/>
  </p:sldMasterIdLst>
  <p:notesMasterIdLst>
    <p:notesMasterId r:id="rId15"/>
  </p:notesMasterIdLst>
  <p:handoutMasterIdLst>
    <p:handoutMasterId r:id="rId16"/>
  </p:handoutMasterIdLst>
  <p:sldIdLst>
    <p:sldId id="1110" r:id="rId6"/>
    <p:sldId id="1109" r:id="rId7"/>
    <p:sldId id="1118" r:id="rId8"/>
    <p:sldId id="1128" r:id="rId9"/>
    <p:sldId id="1126" r:id="rId10"/>
    <p:sldId id="1127" r:id="rId11"/>
    <p:sldId id="1129" r:id="rId12"/>
    <p:sldId id="1122" r:id="rId13"/>
    <p:sldId id="1125" r:id="rId14"/>
  </p:sldIdLst>
  <p:sldSz cx="13439775" cy="7559675"/>
  <p:notesSz cx="6797675" cy="9926638"/>
  <p:custDataLst>
    <p:tags r:id="rId17"/>
  </p:custDataLst>
  <p:defaultTextStyle>
    <a:defPPr>
      <a:defRPr lang="en-US"/>
    </a:defPPr>
    <a:lvl1pPr marL="0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1pPr>
    <a:lvl2pPr marL="497739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2pPr>
    <a:lvl3pPr marL="995478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3pPr>
    <a:lvl4pPr marL="1493217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4pPr>
    <a:lvl5pPr marL="1990957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5pPr>
    <a:lvl6pPr marL="2488695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6pPr>
    <a:lvl7pPr marL="2986435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7pPr>
    <a:lvl8pPr marL="3484174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8pPr>
    <a:lvl9pPr marL="3981914" algn="l" defTabSz="995478" rtl="0" eaLnBrk="1" latinLnBrk="0" hangingPunct="1">
      <a:defRPr sz="19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58" userDrawn="1">
          <p15:clr>
            <a:srgbClr val="A4A3A4"/>
          </p15:clr>
        </p15:guide>
        <p15:guide id="2" pos="241" userDrawn="1">
          <p15:clr>
            <a:srgbClr val="A4A3A4"/>
          </p15:clr>
        </p15:guide>
        <p15:guide id="3" orient="horz" pos="4468" userDrawn="1">
          <p15:clr>
            <a:srgbClr val="A4A3A4"/>
          </p15:clr>
        </p15:guide>
        <p15:guide id="5" pos="4234" userDrawn="1">
          <p15:clr>
            <a:srgbClr val="A4A3A4"/>
          </p15:clr>
        </p15:guide>
        <p15:guide id="6" pos="8025" userDrawn="1">
          <p15:clr>
            <a:srgbClr val="A4A3A4"/>
          </p15:clr>
        </p15:guide>
        <p15:guide id="7" pos="4232" userDrawn="1">
          <p15:clr>
            <a:srgbClr val="A4A3A4"/>
          </p15:clr>
        </p15:guide>
        <p15:guide id="8" orient="horz" pos="58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hilina Yuliya" initials="SY" lastIdx="1" clrIdx="0">
    <p:extLst>
      <p:ext uri="{19B8F6BF-5375-455C-9EA6-DF929625EA0E}">
        <p15:presenceInfo xmlns:p15="http://schemas.microsoft.com/office/powerpoint/2012/main" userId="S-1-5-21-2366370871-3915562376-38366309-50833" providerId="AD"/>
      </p:ext>
    </p:extLst>
  </p:cmAuthor>
  <p:cmAuthor id="2" name="Moiseenko Anastasiya" initials="MA" lastIdx="12" clrIdx="1">
    <p:extLst>
      <p:ext uri="{19B8F6BF-5375-455C-9EA6-DF929625EA0E}">
        <p15:presenceInfo xmlns:p15="http://schemas.microsoft.com/office/powerpoint/2012/main" userId="S-1-5-21-2366370871-3915562376-38366309-131830" providerId="AD"/>
      </p:ext>
    </p:extLst>
  </p:cmAuthor>
  <p:cmAuthor id="3" name="Bogush Oleg" initials="BO" lastIdx="11" clrIdx="2">
    <p:extLst>
      <p:ext uri="{19B8F6BF-5375-455C-9EA6-DF929625EA0E}">
        <p15:presenceInfo xmlns:p15="http://schemas.microsoft.com/office/powerpoint/2012/main" userId="S-1-5-21-2366370871-3915562376-38366309-319282" providerId="AD"/>
      </p:ext>
    </p:extLst>
  </p:cmAuthor>
  <p:cmAuthor id="4" name="Borisenko Evgeniya" initials="BE" lastIdx="14" clrIdx="3">
    <p:extLst>
      <p:ext uri="{19B8F6BF-5375-455C-9EA6-DF929625EA0E}">
        <p15:presenceInfo xmlns:p15="http://schemas.microsoft.com/office/powerpoint/2012/main" userId="S-1-5-21-2366370871-3915562376-38366309-512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ED100"/>
    <a:srgbClr val="6E6E6E"/>
    <a:srgbClr val="828282"/>
    <a:srgbClr val="BFBFBF"/>
    <a:srgbClr val="FFDD00"/>
    <a:srgbClr val="D8D8D8"/>
    <a:srgbClr val="8B8D8E"/>
    <a:srgbClr val="F0AB00"/>
    <a:srgbClr val="B2B4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D7B26C5-4107-4FEC-AEDC-1716B250A1EF}" styleName="Светлый стиль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C083E6E3-FA7D-4D7B-A595-EF9225AFEA82}" styleName="Светлый стиль 1 - акцент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5AB1C69-6EDB-4FF4-983F-18BD219EF322}" styleName="Средний стиль 2 —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368" autoAdjust="0"/>
    <p:restoredTop sz="97406" autoAdjust="0"/>
  </p:normalViewPr>
  <p:slideViewPr>
    <p:cSldViewPr snapToGrid="0">
      <p:cViewPr varScale="1">
        <p:scale>
          <a:sx n="64" d="100"/>
          <a:sy n="64" d="100"/>
        </p:scale>
        <p:origin x="524" y="32"/>
      </p:cViewPr>
      <p:guideLst>
        <p:guide orient="horz" pos="4558"/>
        <p:guide pos="241"/>
        <p:guide orient="horz" pos="4468"/>
        <p:guide pos="4234"/>
        <p:guide pos="8025"/>
        <p:guide pos="4232"/>
        <p:guide orient="horz" pos="58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82" d="100"/>
          <a:sy n="82" d="100"/>
        </p:scale>
        <p:origin x="3972" y="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D3C15368-5E6E-4F2A-8E9B-667F50E9290B}" type="doc">
      <dgm:prSet loTypeId="urn:microsoft.com/office/officeart/2005/8/layout/radial4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884A74C5-EBC2-4F5F-AE79-2EBC635C540B}">
      <dgm:prSet phldrT="[Текст]"/>
      <dgm:spPr/>
      <dgm:t>
        <a:bodyPr/>
        <a:lstStyle/>
        <a:p>
          <a:r>
            <a:rPr lang="uk-UA" dirty="0" smtClean="0"/>
            <a:t>Проблематика:</a:t>
          </a:r>
        </a:p>
        <a:p>
          <a:r>
            <a:rPr lang="uk-UA" dirty="0" smtClean="0"/>
            <a:t>В </a:t>
          </a:r>
          <a:r>
            <a:rPr lang="uk-UA" dirty="0" err="1" smtClean="0"/>
            <a:t>законодательстве</a:t>
          </a:r>
          <a:r>
            <a:rPr lang="uk-UA" dirty="0" smtClean="0"/>
            <a:t> </a:t>
          </a:r>
          <a:r>
            <a:rPr lang="uk-UA" dirty="0" err="1" smtClean="0"/>
            <a:t>отсутствуют</a:t>
          </a:r>
          <a:r>
            <a:rPr lang="uk-UA" dirty="0" smtClean="0"/>
            <a:t> норм</a:t>
          </a:r>
          <a:r>
            <a:rPr lang="ru-RU" dirty="0" smtClean="0"/>
            <a:t>ы, которые бы регулировали сферу строительства, эксплуатации и функционирования </a:t>
          </a:r>
          <a:r>
            <a:rPr lang="uk-UA" dirty="0" smtClean="0"/>
            <a:t> </a:t>
          </a:r>
          <a:r>
            <a:rPr lang="uk-UA" dirty="0" err="1" smtClean="0"/>
            <a:t>балансирующих</a:t>
          </a:r>
          <a:r>
            <a:rPr lang="uk-UA" dirty="0" smtClean="0"/>
            <a:t> </a:t>
          </a:r>
          <a:r>
            <a:rPr lang="uk-UA" dirty="0" err="1" smtClean="0"/>
            <a:t>мощностей</a:t>
          </a:r>
          <a:endParaRPr lang="ru-RU" dirty="0"/>
        </a:p>
      </dgm:t>
    </dgm:pt>
    <dgm:pt modelId="{F7AFC80F-DC13-48F5-B923-9469153964AD}" type="parTrans" cxnId="{C32C0893-5685-4F75-BF0F-AE69F2FEBE06}">
      <dgm:prSet/>
      <dgm:spPr/>
      <dgm:t>
        <a:bodyPr/>
        <a:lstStyle/>
        <a:p>
          <a:endParaRPr lang="ru-RU"/>
        </a:p>
      </dgm:t>
    </dgm:pt>
    <dgm:pt modelId="{06AA86BD-1E4F-4E7F-B094-B19FD63617B7}" type="sibTrans" cxnId="{C32C0893-5685-4F75-BF0F-AE69F2FEBE06}">
      <dgm:prSet/>
      <dgm:spPr/>
      <dgm:t>
        <a:bodyPr/>
        <a:lstStyle/>
        <a:p>
          <a:endParaRPr lang="ru-RU"/>
        </a:p>
      </dgm:t>
    </dgm:pt>
    <dgm:pt modelId="{7A8D86EF-8198-46A2-9E11-DE70D4660115}">
      <dgm:prSet phldrT="[Текст]"/>
      <dgm:spPr/>
      <dgm:t>
        <a:bodyPr/>
        <a:lstStyle/>
        <a:p>
          <a:r>
            <a:rPr lang="ru-RU" dirty="0" smtClean="0"/>
            <a:t>Вариант решения 1:</a:t>
          </a:r>
        </a:p>
        <a:p>
          <a:r>
            <a:rPr lang="ru-RU" dirty="0" smtClean="0"/>
            <a:t>Консервируем ситуацию «как есть» - существующие нормы уже вполне применимы к новым технологическим решениям, роль регулятора «не навреди»</a:t>
          </a:r>
          <a:endParaRPr lang="ru-RU" dirty="0"/>
        </a:p>
      </dgm:t>
    </dgm:pt>
    <dgm:pt modelId="{0875C87C-80C5-4DEE-9E01-627E3EB6AE41}" type="parTrans" cxnId="{182AE8CC-E00B-4298-8CF8-3031D42DD455}">
      <dgm:prSet/>
      <dgm:spPr/>
      <dgm:t>
        <a:bodyPr/>
        <a:lstStyle/>
        <a:p>
          <a:endParaRPr lang="ru-RU"/>
        </a:p>
      </dgm:t>
    </dgm:pt>
    <dgm:pt modelId="{C4CE739F-9CE6-440A-9845-3D4A4C783F46}" type="sibTrans" cxnId="{182AE8CC-E00B-4298-8CF8-3031D42DD455}">
      <dgm:prSet/>
      <dgm:spPr/>
      <dgm:t>
        <a:bodyPr/>
        <a:lstStyle/>
        <a:p>
          <a:endParaRPr lang="ru-RU"/>
        </a:p>
      </dgm:t>
    </dgm:pt>
    <dgm:pt modelId="{144C060A-045F-49C2-A38A-F2ABAE86B52E}">
      <dgm:prSet phldrT="[Текст]"/>
      <dgm:spPr/>
      <dgm:t>
        <a:bodyPr/>
        <a:lstStyle/>
        <a:p>
          <a:r>
            <a:rPr lang="ru-RU" dirty="0" smtClean="0"/>
            <a:t>Вариант решения 2:</a:t>
          </a:r>
        </a:p>
        <a:p>
          <a:r>
            <a:rPr lang="ru-RU" dirty="0" smtClean="0"/>
            <a:t>Реактивно влияем на ситуацию – дорабатываем действующие нормы законодательства под современные требования рынка, роль регулятора «поддержка </a:t>
          </a:r>
          <a:r>
            <a:rPr lang="ru-RU" dirty="0" err="1" smtClean="0"/>
            <a:t>действуюших</a:t>
          </a:r>
          <a:r>
            <a:rPr lang="ru-RU" dirty="0" smtClean="0"/>
            <a:t> трендов»</a:t>
          </a:r>
        </a:p>
        <a:p>
          <a:endParaRPr lang="ru-RU" dirty="0"/>
        </a:p>
      </dgm:t>
    </dgm:pt>
    <dgm:pt modelId="{0530A251-43BD-49B4-8EC6-90624518A90C}" type="parTrans" cxnId="{FB1F89F1-F970-4A6B-885A-DF69E5DB0FDF}">
      <dgm:prSet/>
      <dgm:spPr/>
      <dgm:t>
        <a:bodyPr/>
        <a:lstStyle/>
        <a:p>
          <a:endParaRPr lang="ru-RU"/>
        </a:p>
      </dgm:t>
    </dgm:pt>
    <dgm:pt modelId="{48BC09F5-B110-45DE-AA7E-C54EFC012DCC}" type="sibTrans" cxnId="{FB1F89F1-F970-4A6B-885A-DF69E5DB0FDF}">
      <dgm:prSet/>
      <dgm:spPr/>
      <dgm:t>
        <a:bodyPr/>
        <a:lstStyle/>
        <a:p>
          <a:endParaRPr lang="ru-RU"/>
        </a:p>
      </dgm:t>
    </dgm:pt>
    <dgm:pt modelId="{6565420A-5880-40E2-8B70-75255DC05885}">
      <dgm:prSet phldrT="[Текст]"/>
      <dgm:spPr/>
      <dgm:t>
        <a:bodyPr/>
        <a:lstStyle/>
        <a:p>
          <a:r>
            <a:rPr lang="ru-RU" dirty="0" smtClean="0"/>
            <a:t>Вариант решения 3:</a:t>
          </a:r>
        </a:p>
        <a:p>
          <a:r>
            <a:rPr lang="ru-RU" dirty="0" err="1" smtClean="0"/>
            <a:t>Проактивно</a:t>
          </a:r>
          <a:r>
            <a:rPr lang="ru-RU" dirty="0" smtClean="0"/>
            <a:t> влияем на ситуацию – разрабатываем принципиально новое нормативное регулирование, отвечающее самым современным запросам индустрии с прицелом на «опережение трендов» </a:t>
          </a:r>
        </a:p>
        <a:p>
          <a:endParaRPr lang="ru-RU" dirty="0" smtClean="0"/>
        </a:p>
      </dgm:t>
    </dgm:pt>
    <dgm:pt modelId="{B99528CD-4C8F-411D-B960-7031D707A3C2}" type="parTrans" cxnId="{CDD97911-47A6-49D4-B63A-B1C51FEC0D92}">
      <dgm:prSet/>
      <dgm:spPr/>
      <dgm:t>
        <a:bodyPr/>
        <a:lstStyle/>
        <a:p>
          <a:endParaRPr lang="ru-RU"/>
        </a:p>
      </dgm:t>
    </dgm:pt>
    <dgm:pt modelId="{EFD38388-78F3-4F4C-AD32-F830B5976852}" type="sibTrans" cxnId="{CDD97911-47A6-49D4-B63A-B1C51FEC0D92}">
      <dgm:prSet/>
      <dgm:spPr/>
      <dgm:t>
        <a:bodyPr/>
        <a:lstStyle/>
        <a:p>
          <a:endParaRPr lang="ru-RU"/>
        </a:p>
      </dgm:t>
    </dgm:pt>
    <dgm:pt modelId="{7E0E70C6-8572-483F-8902-82E4560C6405}" type="pres">
      <dgm:prSet presAssocID="{D3C15368-5E6E-4F2A-8E9B-667F50E9290B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E5ED2F07-491A-4F55-B48D-267F2BDB6C76}" type="pres">
      <dgm:prSet presAssocID="{884A74C5-EBC2-4F5F-AE79-2EBC635C540B}" presName="centerShape" presStyleLbl="node0" presStyleIdx="0" presStyleCnt="1" custScaleX="169571"/>
      <dgm:spPr/>
      <dgm:t>
        <a:bodyPr/>
        <a:lstStyle/>
        <a:p>
          <a:endParaRPr lang="ru-RU"/>
        </a:p>
      </dgm:t>
    </dgm:pt>
    <dgm:pt modelId="{8A3B4378-612C-4DB6-B783-801D8097EA51}" type="pres">
      <dgm:prSet presAssocID="{0875C87C-80C5-4DEE-9E01-627E3EB6AE41}" presName="parTrans" presStyleLbl="bgSibTrans2D1" presStyleIdx="0" presStyleCnt="3" custLinFactNeighborX="4759" custLinFactNeighborY="15108"/>
      <dgm:spPr/>
    </dgm:pt>
    <dgm:pt modelId="{CE0BAB0D-4CFA-4DF4-9CA4-A0F479CC536B}" type="pres">
      <dgm:prSet presAssocID="{7A8D86EF-8198-46A2-9E11-DE70D4660115}" presName="node" presStyleLbl="node1" presStyleIdx="0" presStyleCnt="3" custScaleX="131868" custScaleY="138890" custRadScaleRad="144251" custRadScaleInc="-763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7802681-82B8-4ACB-8E5A-05C9345B7A61}" type="pres">
      <dgm:prSet presAssocID="{0530A251-43BD-49B4-8EC6-90624518A90C}" presName="parTrans" presStyleLbl="bgSibTrans2D1" presStyleIdx="1" presStyleCnt="3" custLinFactNeighborX="0" custLinFactNeighborY="20143"/>
      <dgm:spPr/>
    </dgm:pt>
    <dgm:pt modelId="{FCCBDDFE-10D5-48C5-A3AC-F5887E1D108D}" type="pres">
      <dgm:prSet presAssocID="{144C060A-045F-49C2-A38A-F2ABAE86B52E}" presName="node" presStyleLbl="node1" presStyleIdx="1" presStyleCnt="3" custScaleX="124029" custScaleY="119929" custRadScaleRad="9371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10C140-8EE5-409E-93A2-DC3E0814B87A}" type="pres">
      <dgm:prSet presAssocID="{B99528CD-4C8F-411D-B960-7031D707A3C2}" presName="parTrans" presStyleLbl="bgSibTrans2D1" presStyleIdx="2" presStyleCnt="3" custLinFactNeighborX="-7346" custLinFactNeighborY="12590"/>
      <dgm:spPr/>
    </dgm:pt>
    <dgm:pt modelId="{1C1C680F-8E1F-4400-AC71-F78CBF35A33C}" type="pres">
      <dgm:prSet presAssocID="{6565420A-5880-40E2-8B70-75255DC05885}" presName="node" presStyleLbl="node1" presStyleIdx="2" presStyleCnt="3" custScaleX="123155" custScaleY="144076" custRadScaleRad="146898" custRadScaleInc="949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5A1D0BD-4A8B-495B-B1A0-5251630F112E}" type="presOf" srcId="{D3C15368-5E6E-4F2A-8E9B-667F50E9290B}" destId="{7E0E70C6-8572-483F-8902-82E4560C6405}" srcOrd="0" destOrd="0" presId="urn:microsoft.com/office/officeart/2005/8/layout/radial4"/>
    <dgm:cxn modelId="{1AE09B93-E667-4BA7-8711-D6790BA4EF64}" type="presOf" srcId="{6565420A-5880-40E2-8B70-75255DC05885}" destId="{1C1C680F-8E1F-4400-AC71-F78CBF35A33C}" srcOrd="0" destOrd="0" presId="urn:microsoft.com/office/officeart/2005/8/layout/radial4"/>
    <dgm:cxn modelId="{B745F1DA-FDCD-4EE0-AECA-A3B22400E643}" type="presOf" srcId="{B99528CD-4C8F-411D-B960-7031D707A3C2}" destId="{AE10C140-8EE5-409E-93A2-DC3E0814B87A}" srcOrd="0" destOrd="0" presId="urn:microsoft.com/office/officeart/2005/8/layout/radial4"/>
    <dgm:cxn modelId="{3E1930CF-0053-4F8D-87B7-05526C625AD7}" type="presOf" srcId="{0875C87C-80C5-4DEE-9E01-627E3EB6AE41}" destId="{8A3B4378-612C-4DB6-B783-801D8097EA51}" srcOrd="0" destOrd="0" presId="urn:microsoft.com/office/officeart/2005/8/layout/radial4"/>
    <dgm:cxn modelId="{F2FDFECA-086C-48E0-9B77-15091BE8DC94}" type="presOf" srcId="{0530A251-43BD-49B4-8EC6-90624518A90C}" destId="{27802681-82B8-4ACB-8E5A-05C9345B7A61}" srcOrd="0" destOrd="0" presId="urn:microsoft.com/office/officeart/2005/8/layout/radial4"/>
    <dgm:cxn modelId="{11E22790-7D4F-4457-8471-42E26F473C41}" type="presOf" srcId="{884A74C5-EBC2-4F5F-AE79-2EBC635C540B}" destId="{E5ED2F07-491A-4F55-B48D-267F2BDB6C76}" srcOrd="0" destOrd="0" presId="urn:microsoft.com/office/officeart/2005/8/layout/radial4"/>
    <dgm:cxn modelId="{182AE8CC-E00B-4298-8CF8-3031D42DD455}" srcId="{884A74C5-EBC2-4F5F-AE79-2EBC635C540B}" destId="{7A8D86EF-8198-46A2-9E11-DE70D4660115}" srcOrd="0" destOrd="0" parTransId="{0875C87C-80C5-4DEE-9E01-627E3EB6AE41}" sibTransId="{C4CE739F-9CE6-440A-9845-3D4A4C783F46}"/>
    <dgm:cxn modelId="{FB1F89F1-F970-4A6B-885A-DF69E5DB0FDF}" srcId="{884A74C5-EBC2-4F5F-AE79-2EBC635C540B}" destId="{144C060A-045F-49C2-A38A-F2ABAE86B52E}" srcOrd="1" destOrd="0" parTransId="{0530A251-43BD-49B4-8EC6-90624518A90C}" sibTransId="{48BC09F5-B110-45DE-AA7E-C54EFC012DCC}"/>
    <dgm:cxn modelId="{37CE1CCF-435B-42F0-A471-9E2C9A0FAB65}" type="presOf" srcId="{7A8D86EF-8198-46A2-9E11-DE70D4660115}" destId="{CE0BAB0D-4CFA-4DF4-9CA4-A0F479CC536B}" srcOrd="0" destOrd="0" presId="urn:microsoft.com/office/officeart/2005/8/layout/radial4"/>
    <dgm:cxn modelId="{CDD97911-47A6-49D4-B63A-B1C51FEC0D92}" srcId="{884A74C5-EBC2-4F5F-AE79-2EBC635C540B}" destId="{6565420A-5880-40E2-8B70-75255DC05885}" srcOrd="2" destOrd="0" parTransId="{B99528CD-4C8F-411D-B960-7031D707A3C2}" sibTransId="{EFD38388-78F3-4F4C-AD32-F830B5976852}"/>
    <dgm:cxn modelId="{E7234EDF-93AA-4618-A592-A4E49114B2DD}" type="presOf" srcId="{144C060A-045F-49C2-A38A-F2ABAE86B52E}" destId="{FCCBDDFE-10D5-48C5-A3AC-F5887E1D108D}" srcOrd="0" destOrd="0" presId="urn:microsoft.com/office/officeart/2005/8/layout/radial4"/>
    <dgm:cxn modelId="{C32C0893-5685-4F75-BF0F-AE69F2FEBE06}" srcId="{D3C15368-5E6E-4F2A-8E9B-667F50E9290B}" destId="{884A74C5-EBC2-4F5F-AE79-2EBC635C540B}" srcOrd="0" destOrd="0" parTransId="{F7AFC80F-DC13-48F5-B923-9469153964AD}" sibTransId="{06AA86BD-1E4F-4E7F-B094-B19FD63617B7}"/>
    <dgm:cxn modelId="{C847E0F6-6422-41D4-A15C-9D9A2CB8BC1D}" type="presParOf" srcId="{7E0E70C6-8572-483F-8902-82E4560C6405}" destId="{E5ED2F07-491A-4F55-B48D-267F2BDB6C76}" srcOrd="0" destOrd="0" presId="urn:microsoft.com/office/officeart/2005/8/layout/radial4"/>
    <dgm:cxn modelId="{9E34899C-0764-4F4A-A5AF-07FB69B400D4}" type="presParOf" srcId="{7E0E70C6-8572-483F-8902-82E4560C6405}" destId="{8A3B4378-612C-4DB6-B783-801D8097EA51}" srcOrd="1" destOrd="0" presId="urn:microsoft.com/office/officeart/2005/8/layout/radial4"/>
    <dgm:cxn modelId="{0FDDCA88-8E2E-4400-9A52-C06BAB427A4C}" type="presParOf" srcId="{7E0E70C6-8572-483F-8902-82E4560C6405}" destId="{CE0BAB0D-4CFA-4DF4-9CA4-A0F479CC536B}" srcOrd="2" destOrd="0" presId="urn:microsoft.com/office/officeart/2005/8/layout/radial4"/>
    <dgm:cxn modelId="{B302DA5F-FD3F-4761-851F-7C1ED321AB9B}" type="presParOf" srcId="{7E0E70C6-8572-483F-8902-82E4560C6405}" destId="{27802681-82B8-4ACB-8E5A-05C9345B7A61}" srcOrd="3" destOrd="0" presId="urn:microsoft.com/office/officeart/2005/8/layout/radial4"/>
    <dgm:cxn modelId="{9F170ECA-DA88-4AA1-842F-EBD3F54DABD9}" type="presParOf" srcId="{7E0E70C6-8572-483F-8902-82E4560C6405}" destId="{FCCBDDFE-10D5-48C5-A3AC-F5887E1D108D}" srcOrd="4" destOrd="0" presId="urn:microsoft.com/office/officeart/2005/8/layout/radial4"/>
    <dgm:cxn modelId="{4B7A6EA1-D60F-4970-86C4-BE9194E0368A}" type="presParOf" srcId="{7E0E70C6-8572-483F-8902-82E4560C6405}" destId="{AE10C140-8EE5-409E-93A2-DC3E0814B87A}" srcOrd="5" destOrd="0" presId="urn:microsoft.com/office/officeart/2005/8/layout/radial4"/>
    <dgm:cxn modelId="{A9484B79-545A-428C-A0FC-76CFA31B83CD}" type="presParOf" srcId="{7E0E70C6-8572-483F-8902-82E4560C6405}" destId="{1C1C680F-8E1F-4400-AC71-F78CBF35A33C}" srcOrd="6" destOrd="0" presId="urn:microsoft.com/office/officeart/2005/8/layout/radial4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5ED2F07-491A-4F55-B48D-267F2BDB6C76}">
      <dsp:nvSpPr>
        <dsp:cNvPr id="0" name=""/>
        <dsp:cNvSpPr/>
      </dsp:nvSpPr>
      <dsp:spPr>
        <a:xfrm>
          <a:off x="3917766" y="3408836"/>
          <a:ext cx="4697225" cy="2770064"/>
        </a:xfrm>
        <a:prstGeom prst="ellipse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430" tIns="11430" rIns="11430" bIns="1143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kern="1200" dirty="0" smtClean="0"/>
            <a:t>Проблематика:</a:t>
          </a:r>
        </a:p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k-UA" sz="1800" kern="1200" dirty="0" smtClean="0"/>
            <a:t>В </a:t>
          </a:r>
          <a:r>
            <a:rPr lang="uk-UA" sz="1800" kern="1200" dirty="0" err="1" smtClean="0"/>
            <a:t>законодательстве</a:t>
          </a:r>
          <a:r>
            <a:rPr lang="uk-UA" sz="1800" kern="1200" dirty="0" smtClean="0"/>
            <a:t> </a:t>
          </a:r>
          <a:r>
            <a:rPr lang="uk-UA" sz="1800" kern="1200" dirty="0" err="1" smtClean="0"/>
            <a:t>отсутствуют</a:t>
          </a:r>
          <a:r>
            <a:rPr lang="uk-UA" sz="1800" kern="1200" dirty="0" smtClean="0"/>
            <a:t> норм</a:t>
          </a:r>
          <a:r>
            <a:rPr lang="ru-RU" sz="1800" kern="1200" dirty="0" smtClean="0"/>
            <a:t>ы, которые бы регулировали сферу строительства, эксплуатации и функционирования </a:t>
          </a:r>
          <a:r>
            <a:rPr lang="uk-UA" sz="1800" kern="1200" dirty="0" smtClean="0"/>
            <a:t> </a:t>
          </a:r>
          <a:r>
            <a:rPr lang="uk-UA" sz="1800" kern="1200" dirty="0" err="1" smtClean="0"/>
            <a:t>балансирующих</a:t>
          </a:r>
          <a:r>
            <a:rPr lang="uk-UA" sz="1800" kern="1200" dirty="0" smtClean="0"/>
            <a:t> </a:t>
          </a:r>
          <a:r>
            <a:rPr lang="uk-UA" sz="1800" kern="1200" dirty="0" err="1" smtClean="0"/>
            <a:t>мощностей</a:t>
          </a:r>
          <a:endParaRPr lang="ru-RU" sz="1800" kern="1200" dirty="0"/>
        </a:p>
      </dsp:txBody>
      <dsp:txXfrm>
        <a:off x="4605659" y="3814502"/>
        <a:ext cx="3321439" cy="1958732"/>
      </dsp:txXfrm>
    </dsp:sp>
    <dsp:sp modelId="{8A3B4378-612C-4DB6-B783-801D8097EA51}">
      <dsp:nvSpPr>
        <dsp:cNvPr id="0" name=""/>
        <dsp:cNvSpPr/>
      </dsp:nvSpPr>
      <dsp:spPr>
        <a:xfrm rot="12625140">
          <a:off x="1677001" y="2655865"/>
          <a:ext cx="3132476" cy="78946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CE0BAB0D-4CFA-4DF4-9CA4-A0F479CC536B}">
      <dsp:nvSpPr>
        <dsp:cNvPr id="0" name=""/>
        <dsp:cNvSpPr/>
      </dsp:nvSpPr>
      <dsp:spPr>
        <a:xfrm>
          <a:off x="8432" y="676319"/>
          <a:ext cx="3470186" cy="2923980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ариант решения 1: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Консервируем ситуацию «как есть» - существующие нормы уже вполне применимы к новым технологическим решениям, роль регулятора «не навреди»</a:t>
          </a:r>
          <a:endParaRPr lang="ru-RU" sz="1600" kern="1200" dirty="0"/>
        </a:p>
      </dsp:txBody>
      <dsp:txXfrm>
        <a:off x="94072" y="761959"/>
        <a:ext cx="3298906" cy="2752700"/>
      </dsp:txXfrm>
    </dsp:sp>
    <dsp:sp modelId="{27802681-82B8-4ACB-8E5A-05C9345B7A61}">
      <dsp:nvSpPr>
        <dsp:cNvPr id="0" name=""/>
        <dsp:cNvSpPr/>
      </dsp:nvSpPr>
      <dsp:spPr>
        <a:xfrm rot="16200000">
          <a:off x="5310851" y="2106371"/>
          <a:ext cx="1911055" cy="78946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CCBDDFE-10D5-48C5-A3AC-F5887E1D108D}">
      <dsp:nvSpPr>
        <dsp:cNvPr id="0" name=""/>
        <dsp:cNvSpPr/>
      </dsp:nvSpPr>
      <dsp:spPr>
        <a:xfrm>
          <a:off x="4634430" y="124153"/>
          <a:ext cx="3263898" cy="2524803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ариант решения 2: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Реактивно влияем на ситуацию – дорабатываем действующие нормы законодательства под современные требования рынка, роль регулятора «поддержка </a:t>
          </a:r>
          <a:r>
            <a:rPr lang="ru-RU" sz="1600" kern="1200" dirty="0" err="1" smtClean="0"/>
            <a:t>действуюших</a:t>
          </a:r>
          <a:r>
            <a:rPr lang="ru-RU" sz="1600" kern="1200" dirty="0" smtClean="0"/>
            <a:t> трендов»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/>
        </a:p>
      </dsp:txBody>
      <dsp:txXfrm>
        <a:off x="4708379" y="198102"/>
        <a:ext cx="3116000" cy="2376905"/>
      </dsp:txXfrm>
    </dsp:sp>
    <dsp:sp modelId="{AE10C140-8EE5-409E-93A2-DC3E0814B87A}">
      <dsp:nvSpPr>
        <dsp:cNvPr id="0" name=""/>
        <dsp:cNvSpPr/>
      </dsp:nvSpPr>
      <dsp:spPr>
        <a:xfrm rot="19801151">
          <a:off x="7665327" y="2661943"/>
          <a:ext cx="3111935" cy="789468"/>
        </a:xfrm>
        <a:prstGeom prst="leftArrow">
          <a:avLst>
            <a:gd name="adj1" fmla="val 60000"/>
            <a:gd name="adj2" fmla="val 50000"/>
          </a:avLst>
        </a:prstGeom>
        <a:solidFill>
          <a:schemeClr val="accent1">
            <a:tint val="6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C1C680F-8E1F-4400-AC71-F78CBF35A33C}">
      <dsp:nvSpPr>
        <dsp:cNvPr id="0" name=""/>
        <dsp:cNvSpPr/>
      </dsp:nvSpPr>
      <dsp:spPr>
        <a:xfrm>
          <a:off x="9177215" y="663171"/>
          <a:ext cx="3240899" cy="3033158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0480" tIns="30480" rIns="30480" bIns="3048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smtClean="0"/>
            <a:t>Вариант решения 3: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600" kern="1200" dirty="0" err="1" smtClean="0"/>
            <a:t>Проактивно</a:t>
          </a:r>
          <a:r>
            <a:rPr lang="ru-RU" sz="1600" kern="1200" dirty="0" smtClean="0"/>
            <a:t> влияем на ситуацию – разрабатываем принципиально новое нормативное регулирование, отвечающее самым современным запросам индустрии с прицелом на «опережение трендов» </a:t>
          </a:r>
        </a:p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600" kern="1200" dirty="0" smtClean="0"/>
        </a:p>
      </dsp:txBody>
      <dsp:txXfrm>
        <a:off x="9266053" y="752009"/>
        <a:ext cx="3063223" cy="285548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4">
  <dgm:title val=""/>
  <dgm:desc val=""/>
  <dgm:catLst>
    <dgm:cat type="relationship" pri="19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5" srcId="1" destId="11" srcOrd="0" destOrd="0"/>
        <dgm:cxn modelId="16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0"/>
              <dgm:param type="spanAng" val="360"/>
              <dgm:param type="ctrShpMap" val="fNode"/>
            </dgm:alg>
          </dgm:if>
          <dgm:else name="Name4">
            <dgm:choose name="Name5">
              <dgm:if name="Name6" axis="ch ch" ptType="node node" st="1 1" cnt="1 0" func="cnt" op="lte" val="3">
                <dgm:alg type="cycle">
                  <dgm:param type="stAng" val="-55"/>
                  <dgm:param type="spanAng" val="110"/>
                  <dgm:param type="ctrShpMap" val="fNode"/>
                </dgm:alg>
              </dgm:if>
              <dgm:else name="Name7">
                <dgm:choose name="Name8">
                  <dgm:if name="Name9" axis="ch ch" ptType="node node" st="1 1" cnt="1 0" func="cnt" op="equ" val="4">
                    <dgm:alg type="cycle">
                      <dgm:param type="stAng" val="-75"/>
                      <dgm:param type="spanAng" val="150"/>
                      <dgm:param type="ctrShpMap" val="fNode"/>
                    </dgm:alg>
                  </dgm:if>
                  <dgm:else name="Name10">
                    <dgm:alg type="cycle">
                      <dgm:param type="stAng" val="-90"/>
                      <dgm:param type="spanAng" val="180"/>
                      <dgm:param type="ctrShpMap" val="fNode"/>
                    </dgm:alg>
                  </dgm:else>
                </dgm:choose>
              </dgm:else>
            </dgm:choose>
          </dgm:else>
        </dgm:choose>
      </dgm:if>
      <dgm:else name="Name11">
        <dgm:choose name="Name12">
          <dgm:if name="Name13" axis="ch ch" ptType="node node" st="1 1" cnt="1 0" func="cnt" op="lte" val="1">
            <dgm:alg type="cycle">
              <dgm:param type="stAng" val="0"/>
              <dgm:param type="spanAng" val="-360"/>
              <dgm:param type="ctrShpMap" val="fNode"/>
            </dgm:alg>
          </dgm:if>
          <dgm:else name="Name14">
            <dgm:choose name="Name15">
              <dgm:if name="Name16" axis="ch ch" ptType="node node" st="1 1" cnt="1 0" func="cnt" op="lte" val="3">
                <dgm:alg type="cycle">
                  <dgm:param type="stAng" val="55"/>
                  <dgm:param type="spanAng" val="-110"/>
                  <dgm:param type="ctrShpMap" val="fNode"/>
                </dgm:alg>
              </dgm:if>
              <dgm:else name="Name17">
                <dgm:choose name="Name18">
                  <dgm:if name="Name19" axis="ch ch" ptType="node node" st="1 1" cnt="1 0" func="cnt" op="equ" val="4">
                    <dgm:alg type="cycle">
                      <dgm:param type="stAng" val="75"/>
                      <dgm:param type="spanAng" val="-150"/>
                      <dgm:param type="ctrShpMap" val="fNode"/>
                    </dgm:alg>
                  </dgm:if>
                  <dgm:else name="Name20">
                    <dgm:alg type="cycle">
                      <dgm:param type="stAng" val="90"/>
                      <dgm:param type="spanAng" val="-180"/>
                      <dgm:param type="ctrShpMap" val="fNode"/>
                    </dgm:alg>
                  </dgm:else>
                </dgm:choose>
              </dgm:else>
            </dgm:choose>
          </dgm:else>
        </dgm:choose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fact="0.95"/>
      <dgm:constr type="h" for="ch" forName="parTrans" refType="w" refFor="ch" refForName="centerShape" fact="0.285"/>
      <dgm:constr type="sp" refType="w" refFor="ch" refForName="centerShape" op="equ" fact="0.23"/>
      <dgm:constr type="sibSp" refType="w" refFor="ch" refForName="node" fact="0.1"/>
      <dgm:constr type="primFontSz" for="ch" forName="node" op="equ"/>
    </dgm:constrLst>
    <dgm:choose name="Name21">
      <dgm:if name="Name22" axis="ch ch" ptType="node node" st="1 1" cnt="1 0" func="cnt" op="lte" val="5">
        <dgm:ruleLst>
          <dgm:rule type="w" for="ch" forName="centerShape" val="NaN" fact="0.27" max="NaN"/>
        </dgm:ruleLst>
      </dgm:if>
      <dgm:else name="Name23">
        <dgm:ruleLst>
          <dgm:rule type="w" for="ch" forName="centerShape" val="NaN" fact="0.27" max="NaN"/>
          <dgm:rule type="w" for="ch" forName="node" val="NaN" fact="0.7" max="NaN"/>
        </dgm:ruleLst>
      </dgm:else>
    </dgm:choose>
    <dgm:forEach name="Name24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  <dgm:constr type="primFontSz" val="65"/>
          <dgm:constr type="h" refType="w"/>
        </dgm:constrLst>
        <dgm:ruleLst>
          <dgm:rule type="primFontSz" val="5" fact="NaN" max="NaN"/>
        </dgm:ruleLst>
      </dgm:layoutNode>
      <dgm:forEach name="Name25" axis="ch">
        <dgm:forEach name="Name26" axis="self" ptType="parTrans">
          <dgm:layoutNode name="parTrans" styleLbl="bgSibTrans2D1">
            <dgm:alg type="conn">
              <dgm:param type="begPts" val="auto"/>
              <dgm:param type="endPts" val="ctr"/>
              <dgm:param type="endSty" val="noArr"/>
              <dgm:param type="begSty" val="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begPad" refType="connDist" fact="0.055"/>
              <dgm:constr type="endPad"/>
            </dgm:constrLst>
            <dgm:ruleLst/>
          </dgm:layoutNode>
        </dgm:forEach>
        <dgm:forEach name="Name27" axis="self" ptType="node">
          <dgm:layoutNode name="node" styleLbl="node1">
            <dgm:varLst>
              <dgm:bulletEnabled val="1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>
              <dgm:constr type="primFontSz" val="65"/>
              <dgm:constr type="h" refType="w" fact="0.8"/>
              <dgm:constr type="tMarg" refType="primFontSz" fact="0.15"/>
              <dgm:constr type="bMarg" refType="primFontSz" fact="0.15"/>
              <dgm:constr type="lMarg" refType="primFontSz" fact="0.15"/>
              <dgm:constr type="rMarg" refType="primFontSz" fact="0.1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897AFDA-191E-4A47-97A7-61F53F026BC0}" type="datetimeFigureOut">
              <a:rPr lang="ru-RU" smtClean="0"/>
              <a:t>12.11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F422D56-FF5B-408F-8F33-815186913F8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91215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1"/>
            <a:ext cx="2945659" cy="498057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1"/>
            <a:ext cx="2945659" cy="498057"/>
          </a:xfrm>
          <a:prstGeom prst="rect">
            <a:avLst/>
          </a:prstGeom>
        </p:spPr>
        <p:txBody>
          <a:bodyPr vert="horz" lIns="91421" tIns="45711" rIns="91421" bIns="45711" rtlCol="0"/>
          <a:lstStyle>
            <a:lvl1pPr algn="r">
              <a:defRPr sz="1200"/>
            </a:lvl1pPr>
          </a:lstStyle>
          <a:p>
            <a:fld id="{12F201A4-C2C6-4566-9E32-F1F384CF1EE9}" type="datetimeFigureOut">
              <a:rPr lang="en-US" smtClean="0"/>
              <a:t>11/12/2019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3863" y="1241425"/>
            <a:ext cx="5949950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21" tIns="45711" rIns="91421" bIns="45711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4"/>
          </a:xfrm>
          <a:prstGeom prst="rect">
            <a:avLst/>
          </a:prstGeom>
        </p:spPr>
        <p:txBody>
          <a:bodyPr vert="horz" lIns="91421" tIns="45711" rIns="91421" bIns="45711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5"/>
            <a:ext cx="2945659" cy="498056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28585"/>
            <a:ext cx="2945659" cy="498056"/>
          </a:xfrm>
          <a:prstGeom prst="rect">
            <a:avLst/>
          </a:prstGeom>
        </p:spPr>
        <p:txBody>
          <a:bodyPr vert="horz" lIns="91421" tIns="45711" rIns="91421" bIns="45711" rtlCol="0" anchor="b"/>
          <a:lstStyle>
            <a:lvl1pPr algn="r">
              <a:defRPr sz="1200"/>
            </a:lvl1pPr>
          </a:lstStyle>
          <a:p>
            <a:fld id="{D4FCB278-02CA-48D9-8768-59684A0470B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83946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1pPr>
    <a:lvl2pPr marL="497739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2pPr>
    <a:lvl3pPr marL="995478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3pPr>
    <a:lvl4pPr marL="1493217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4pPr>
    <a:lvl5pPr marL="1990957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5pPr>
    <a:lvl6pPr marL="2488695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6pPr>
    <a:lvl7pPr marL="2986435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7pPr>
    <a:lvl8pPr marL="3484174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8pPr>
    <a:lvl9pPr marL="3981914" algn="l" defTabSz="995478" rtl="0" eaLnBrk="1" latinLnBrk="0" hangingPunct="1">
      <a:defRPr sz="130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.xml"/><Relationship Id="rId7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3.png"/><Relationship Id="rId10" Type="http://schemas.openxmlformats.org/officeDocument/2006/relationships/image" Target="../media/image6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2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2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3.png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k object 16"/>
          <p:cNvSpPr/>
          <p:nvPr userDrawn="1"/>
        </p:nvSpPr>
        <p:spPr>
          <a:xfrm>
            <a:off x="-238" y="-317"/>
            <a:ext cx="13440014" cy="7559992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64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631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704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88" name="Прямоугольник 87"/>
          <p:cNvSpPr/>
          <p:nvPr userDrawn="1"/>
        </p:nvSpPr>
        <p:spPr>
          <a:xfrm>
            <a:off x="456856" y="1"/>
            <a:ext cx="757645" cy="5007428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624747" y="2626579"/>
            <a:ext cx="7995378" cy="1230996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sz="4800" b="1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uk-UA" dirty="0" smtClean="0"/>
              <a:t>Назва презентації</a:t>
            </a:r>
            <a:endParaRPr lang="ru-RU" dirty="0"/>
          </a:p>
        </p:txBody>
      </p:sp>
      <p:grpSp>
        <p:nvGrpSpPr>
          <p:cNvPr id="4" name="Группа 3"/>
          <p:cNvGrpSpPr/>
          <p:nvPr userDrawn="1"/>
        </p:nvGrpSpPr>
        <p:grpSpPr>
          <a:xfrm>
            <a:off x="722748" y="4410534"/>
            <a:ext cx="5511731" cy="449955"/>
            <a:chOff x="722748" y="4410534"/>
            <a:chExt cx="5511731" cy="449955"/>
          </a:xfrm>
        </p:grpSpPr>
        <p:grpSp>
          <p:nvGrpSpPr>
            <p:cNvPr id="38" name="Группа 37"/>
            <p:cNvGrpSpPr/>
            <p:nvPr userDrawn="1"/>
          </p:nvGrpSpPr>
          <p:grpSpPr>
            <a:xfrm>
              <a:off x="722748" y="4410740"/>
              <a:ext cx="4339906" cy="449749"/>
              <a:chOff x="722748" y="4410740"/>
              <a:chExt cx="4339906" cy="449749"/>
            </a:xfrm>
          </p:grpSpPr>
          <p:sp>
            <p:nvSpPr>
              <p:cNvPr id="39" name="bk object 21"/>
              <p:cNvSpPr/>
              <p:nvPr userDrawn="1"/>
            </p:nvSpPr>
            <p:spPr>
              <a:xfrm>
                <a:off x="501947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0" name="bk object 22"/>
              <p:cNvSpPr/>
              <p:nvPr userDrawn="1"/>
            </p:nvSpPr>
            <p:spPr>
              <a:xfrm>
                <a:off x="4628873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79" y="2377"/>
                    </a:lnTo>
                    <a:lnTo>
                      <a:pt x="8863" y="8859"/>
                    </a:lnTo>
                    <a:lnTo>
                      <a:pt x="2378" y="18468"/>
                    </a:lnTo>
                    <a:lnTo>
                      <a:pt x="0" y="30226"/>
                    </a:lnTo>
                    <a:lnTo>
                      <a:pt x="2378" y="41987"/>
                    </a:lnTo>
                    <a:lnTo>
                      <a:pt x="8863" y="51604"/>
                    </a:lnTo>
                    <a:lnTo>
                      <a:pt x="1847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1" name="bk object 23"/>
              <p:cNvSpPr/>
              <p:nvPr userDrawn="1"/>
            </p:nvSpPr>
            <p:spPr>
              <a:xfrm>
                <a:off x="423824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11" y="0"/>
                    </a:moveTo>
                    <a:lnTo>
                      <a:pt x="30276" y="0"/>
                    </a:lnTo>
                    <a:lnTo>
                      <a:pt x="18500" y="2377"/>
                    </a:lnTo>
                    <a:lnTo>
                      <a:pt x="8875" y="8859"/>
                    </a:lnTo>
                    <a:lnTo>
                      <a:pt x="2382" y="18468"/>
                    </a:lnTo>
                    <a:lnTo>
                      <a:pt x="0" y="30226"/>
                    </a:lnTo>
                    <a:lnTo>
                      <a:pt x="2382" y="41987"/>
                    </a:lnTo>
                    <a:lnTo>
                      <a:pt x="8875" y="51604"/>
                    </a:lnTo>
                    <a:lnTo>
                      <a:pt x="18500" y="58095"/>
                    </a:lnTo>
                    <a:lnTo>
                      <a:pt x="30276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76" y="49415"/>
                    </a:lnTo>
                    <a:lnTo>
                      <a:pt x="22802" y="47904"/>
                    </a:lnTo>
                    <a:lnTo>
                      <a:pt x="16698" y="43788"/>
                    </a:lnTo>
                    <a:lnTo>
                      <a:pt x="12583" y="37687"/>
                    </a:lnTo>
                    <a:lnTo>
                      <a:pt x="11074" y="30226"/>
                    </a:lnTo>
                    <a:lnTo>
                      <a:pt x="12583" y="22768"/>
                    </a:lnTo>
                    <a:lnTo>
                      <a:pt x="16698" y="16676"/>
                    </a:lnTo>
                    <a:lnTo>
                      <a:pt x="22802" y="12568"/>
                    </a:lnTo>
                    <a:lnTo>
                      <a:pt x="30276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2" name="bk object 24"/>
              <p:cNvSpPr/>
              <p:nvPr userDrawn="1"/>
            </p:nvSpPr>
            <p:spPr>
              <a:xfrm>
                <a:off x="3847636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11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8" name="bk object 25"/>
              <p:cNvSpPr/>
              <p:nvPr userDrawn="1"/>
            </p:nvSpPr>
            <p:spPr>
              <a:xfrm>
                <a:off x="3457023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24" y="0"/>
                    </a:moveTo>
                    <a:lnTo>
                      <a:pt x="30264" y="0"/>
                    </a:lnTo>
                    <a:lnTo>
                      <a:pt x="18500" y="2377"/>
                    </a:lnTo>
                    <a:lnTo>
                      <a:pt x="8878" y="8859"/>
                    </a:lnTo>
                    <a:lnTo>
                      <a:pt x="2383" y="18468"/>
                    </a:lnTo>
                    <a:lnTo>
                      <a:pt x="0" y="30226"/>
                    </a:lnTo>
                    <a:lnTo>
                      <a:pt x="2383" y="41987"/>
                    </a:lnTo>
                    <a:lnTo>
                      <a:pt x="8878" y="51604"/>
                    </a:lnTo>
                    <a:lnTo>
                      <a:pt x="18500" y="58095"/>
                    </a:lnTo>
                    <a:lnTo>
                      <a:pt x="30264" y="60477"/>
                    </a:lnTo>
                    <a:lnTo>
                      <a:pt x="42824" y="60477"/>
                    </a:lnTo>
                    <a:lnTo>
                      <a:pt x="42824" y="49415"/>
                    </a:lnTo>
                    <a:lnTo>
                      <a:pt x="30264" y="49415"/>
                    </a:lnTo>
                    <a:lnTo>
                      <a:pt x="22802" y="47904"/>
                    </a:lnTo>
                    <a:lnTo>
                      <a:pt x="16702" y="43788"/>
                    </a:lnTo>
                    <a:lnTo>
                      <a:pt x="12585" y="37687"/>
                    </a:lnTo>
                    <a:lnTo>
                      <a:pt x="11074" y="30226"/>
                    </a:lnTo>
                    <a:lnTo>
                      <a:pt x="12585" y="22768"/>
                    </a:lnTo>
                    <a:lnTo>
                      <a:pt x="16702" y="16676"/>
                    </a:lnTo>
                    <a:lnTo>
                      <a:pt x="22802" y="12568"/>
                    </a:lnTo>
                    <a:lnTo>
                      <a:pt x="30264" y="11061"/>
                    </a:lnTo>
                    <a:lnTo>
                      <a:pt x="42824" y="11061"/>
                    </a:lnTo>
                    <a:lnTo>
                      <a:pt x="4282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9" name="bk object 26"/>
              <p:cNvSpPr/>
              <p:nvPr userDrawn="1"/>
            </p:nvSpPr>
            <p:spPr>
              <a:xfrm>
                <a:off x="306643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0" name="bk object 27"/>
              <p:cNvSpPr/>
              <p:nvPr userDrawn="1"/>
            </p:nvSpPr>
            <p:spPr>
              <a:xfrm>
                <a:off x="2675826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1" name="bk object 28"/>
              <p:cNvSpPr/>
              <p:nvPr userDrawn="1"/>
            </p:nvSpPr>
            <p:spPr>
              <a:xfrm>
                <a:off x="2285194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811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2" name="bk object 29"/>
              <p:cNvSpPr/>
              <p:nvPr userDrawn="1"/>
            </p:nvSpPr>
            <p:spPr>
              <a:xfrm>
                <a:off x="1894589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95" y="47904"/>
                    </a:lnTo>
                    <a:lnTo>
                      <a:pt x="16694" y="43788"/>
                    </a:lnTo>
                    <a:lnTo>
                      <a:pt x="12574" y="37687"/>
                    </a:lnTo>
                    <a:lnTo>
                      <a:pt x="11061" y="30226"/>
                    </a:lnTo>
                    <a:lnTo>
                      <a:pt x="12574" y="22768"/>
                    </a:lnTo>
                    <a:lnTo>
                      <a:pt x="16694" y="16676"/>
                    </a:lnTo>
                    <a:lnTo>
                      <a:pt x="22795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3" name="bk object 30"/>
              <p:cNvSpPr/>
              <p:nvPr userDrawn="1"/>
            </p:nvSpPr>
            <p:spPr>
              <a:xfrm>
                <a:off x="150399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4" name="bk object 31"/>
              <p:cNvSpPr/>
              <p:nvPr userDrawn="1"/>
            </p:nvSpPr>
            <p:spPr>
              <a:xfrm>
                <a:off x="1113384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9" y="47904"/>
                    </a:lnTo>
                    <a:lnTo>
                      <a:pt x="16679" y="43788"/>
                    </a:lnTo>
                    <a:lnTo>
                      <a:pt x="12568" y="37687"/>
                    </a:lnTo>
                    <a:lnTo>
                      <a:pt x="11061" y="30226"/>
                    </a:lnTo>
                    <a:lnTo>
                      <a:pt x="12568" y="22768"/>
                    </a:lnTo>
                    <a:lnTo>
                      <a:pt x="16679" y="16676"/>
                    </a:lnTo>
                    <a:lnTo>
                      <a:pt x="22779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5" name="bk object 32"/>
              <p:cNvSpPr/>
              <p:nvPr userDrawn="1"/>
            </p:nvSpPr>
            <p:spPr>
              <a:xfrm>
                <a:off x="722748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24" y="0"/>
                    </a:moveTo>
                    <a:lnTo>
                      <a:pt x="30264" y="0"/>
                    </a:lnTo>
                    <a:lnTo>
                      <a:pt x="18505" y="2377"/>
                    </a:lnTo>
                    <a:lnTo>
                      <a:pt x="8883" y="8859"/>
                    </a:lnTo>
                    <a:lnTo>
                      <a:pt x="2385" y="18468"/>
                    </a:lnTo>
                    <a:lnTo>
                      <a:pt x="0" y="30226"/>
                    </a:lnTo>
                    <a:lnTo>
                      <a:pt x="2385" y="41987"/>
                    </a:lnTo>
                    <a:lnTo>
                      <a:pt x="8883" y="51604"/>
                    </a:lnTo>
                    <a:lnTo>
                      <a:pt x="18505" y="58095"/>
                    </a:lnTo>
                    <a:lnTo>
                      <a:pt x="30264" y="60477"/>
                    </a:lnTo>
                    <a:lnTo>
                      <a:pt x="42824" y="60477"/>
                    </a:lnTo>
                    <a:lnTo>
                      <a:pt x="42824" y="49415"/>
                    </a:lnTo>
                    <a:lnTo>
                      <a:pt x="30264" y="49415"/>
                    </a:lnTo>
                    <a:lnTo>
                      <a:pt x="22802" y="47904"/>
                    </a:lnTo>
                    <a:lnTo>
                      <a:pt x="16702" y="43788"/>
                    </a:lnTo>
                    <a:lnTo>
                      <a:pt x="12585" y="37687"/>
                    </a:lnTo>
                    <a:lnTo>
                      <a:pt x="11074" y="30226"/>
                    </a:lnTo>
                    <a:lnTo>
                      <a:pt x="12585" y="22768"/>
                    </a:lnTo>
                    <a:lnTo>
                      <a:pt x="16702" y="16676"/>
                    </a:lnTo>
                    <a:lnTo>
                      <a:pt x="22802" y="12568"/>
                    </a:lnTo>
                    <a:lnTo>
                      <a:pt x="30264" y="11061"/>
                    </a:lnTo>
                    <a:lnTo>
                      <a:pt x="42824" y="11061"/>
                    </a:lnTo>
                    <a:lnTo>
                      <a:pt x="4282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6" name="bk object 33"/>
              <p:cNvSpPr/>
              <p:nvPr userDrawn="1"/>
            </p:nvSpPr>
            <p:spPr>
              <a:xfrm>
                <a:off x="722749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19" y="12572"/>
                    </a:lnTo>
                    <a:lnTo>
                      <a:pt x="26115" y="16689"/>
                    </a:lnTo>
                    <a:lnTo>
                      <a:pt x="30228" y="22789"/>
                    </a:lnTo>
                    <a:lnTo>
                      <a:pt x="31737" y="30251"/>
                    </a:lnTo>
                    <a:lnTo>
                      <a:pt x="30228" y="37708"/>
                    </a:lnTo>
                    <a:lnTo>
                      <a:pt x="26115" y="43800"/>
                    </a:lnTo>
                    <a:lnTo>
                      <a:pt x="20019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23" y="58099"/>
                    </a:lnTo>
                    <a:lnTo>
                      <a:pt x="33945" y="51617"/>
                    </a:lnTo>
                    <a:lnTo>
                      <a:pt x="40440" y="42009"/>
                    </a:lnTo>
                    <a:lnTo>
                      <a:pt x="42824" y="30251"/>
                    </a:lnTo>
                    <a:lnTo>
                      <a:pt x="40440" y="18489"/>
                    </a:lnTo>
                    <a:lnTo>
                      <a:pt x="33945" y="8872"/>
                    </a:lnTo>
                    <a:lnTo>
                      <a:pt x="24323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7" name="bk object 34"/>
              <p:cNvSpPr/>
              <p:nvPr userDrawn="1"/>
            </p:nvSpPr>
            <p:spPr>
              <a:xfrm>
                <a:off x="111338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8" name="bk object 35"/>
              <p:cNvSpPr/>
              <p:nvPr userDrawn="1"/>
            </p:nvSpPr>
            <p:spPr>
              <a:xfrm>
                <a:off x="150399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9" name="bk object 36"/>
              <p:cNvSpPr/>
              <p:nvPr userDrawn="1"/>
            </p:nvSpPr>
            <p:spPr>
              <a:xfrm>
                <a:off x="189459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7" y="12572"/>
                    </a:lnTo>
                    <a:lnTo>
                      <a:pt x="26106" y="16689"/>
                    </a:lnTo>
                    <a:lnTo>
                      <a:pt x="30217" y="22789"/>
                    </a:lnTo>
                    <a:lnTo>
                      <a:pt x="31724" y="30251"/>
                    </a:lnTo>
                    <a:lnTo>
                      <a:pt x="30217" y="37708"/>
                    </a:lnTo>
                    <a:lnTo>
                      <a:pt x="26106" y="43800"/>
                    </a:lnTo>
                    <a:lnTo>
                      <a:pt x="20007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0" name="bk object 37"/>
              <p:cNvSpPr/>
              <p:nvPr userDrawn="1"/>
            </p:nvSpPr>
            <p:spPr>
              <a:xfrm>
                <a:off x="228519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11" y="58099"/>
                    </a:lnTo>
                    <a:lnTo>
                      <a:pt x="33935" y="51617"/>
                    </a:lnTo>
                    <a:lnTo>
                      <a:pt x="40429" y="42009"/>
                    </a:lnTo>
                    <a:lnTo>
                      <a:pt x="42811" y="30251"/>
                    </a:lnTo>
                    <a:lnTo>
                      <a:pt x="40429" y="18489"/>
                    </a:lnTo>
                    <a:lnTo>
                      <a:pt x="33935" y="8872"/>
                    </a:lnTo>
                    <a:lnTo>
                      <a:pt x="24311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1" name="bk object 38"/>
              <p:cNvSpPr/>
              <p:nvPr userDrawn="1"/>
            </p:nvSpPr>
            <p:spPr>
              <a:xfrm>
                <a:off x="267580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21" y="12572"/>
                    </a:lnTo>
                    <a:lnTo>
                      <a:pt x="26122" y="16689"/>
                    </a:lnTo>
                    <a:lnTo>
                      <a:pt x="30239" y="22789"/>
                    </a:lnTo>
                    <a:lnTo>
                      <a:pt x="31750" y="30251"/>
                    </a:lnTo>
                    <a:lnTo>
                      <a:pt x="30239" y="37708"/>
                    </a:lnTo>
                    <a:lnTo>
                      <a:pt x="26122" y="43800"/>
                    </a:lnTo>
                    <a:lnTo>
                      <a:pt x="20021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21" y="58099"/>
                    </a:lnTo>
                    <a:lnTo>
                      <a:pt x="33939" y="51617"/>
                    </a:lnTo>
                    <a:lnTo>
                      <a:pt x="40429" y="42009"/>
                    </a:lnTo>
                    <a:lnTo>
                      <a:pt x="42811" y="30251"/>
                    </a:lnTo>
                    <a:lnTo>
                      <a:pt x="40429" y="18489"/>
                    </a:lnTo>
                    <a:lnTo>
                      <a:pt x="33939" y="8872"/>
                    </a:lnTo>
                    <a:lnTo>
                      <a:pt x="24321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2" name="bk object 39"/>
              <p:cNvSpPr/>
              <p:nvPr userDrawn="1"/>
            </p:nvSpPr>
            <p:spPr>
              <a:xfrm>
                <a:off x="306642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3" name="bk object 40"/>
              <p:cNvSpPr/>
              <p:nvPr userDrawn="1"/>
            </p:nvSpPr>
            <p:spPr>
              <a:xfrm>
                <a:off x="345703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7" y="12572"/>
                    </a:lnTo>
                    <a:lnTo>
                      <a:pt x="26106" y="16689"/>
                    </a:lnTo>
                    <a:lnTo>
                      <a:pt x="30217" y="22789"/>
                    </a:lnTo>
                    <a:lnTo>
                      <a:pt x="31724" y="30251"/>
                    </a:lnTo>
                    <a:lnTo>
                      <a:pt x="30217" y="37708"/>
                    </a:lnTo>
                    <a:lnTo>
                      <a:pt x="26106" y="43800"/>
                    </a:lnTo>
                    <a:lnTo>
                      <a:pt x="20007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4" name="bk object 41"/>
              <p:cNvSpPr/>
              <p:nvPr userDrawn="1"/>
            </p:nvSpPr>
            <p:spPr>
              <a:xfrm>
                <a:off x="3847639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5" name="bk object 42"/>
              <p:cNvSpPr/>
              <p:nvPr userDrawn="1"/>
            </p:nvSpPr>
            <p:spPr>
              <a:xfrm>
                <a:off x="4238244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21" y="12572"/>
                    </a:lnTo>
                    <a:lnTo>
                      <a:pt x="26122" y="16689"/>
                    </a:lnTo>
                    <a:lnTo>
                      <a:pt x="30239" y="22789"/>
                    </a:lnTo>
                    <a:lnTo>
                      <a:pt x="31749" y="30251"/>
                    </a:lnTo>
                    <a:lnTo>
                      <a:pt x="30239" y="37708"/>
                    </a:lnTo>
                    <a:lnTo>
                      <a:pt x="26122" y="43800"/>
                    </a:lnTo>
                    <a:lnTo>
                      <a:pt x="20021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16" y="58099"/>
                    </a:lnTo>
                    <a:lnTo>
                      <a:pt x="33934" y="51617"/>
                    </a:lnTo>
                    <a:lnTo>
                      <a:pt x="40428" y="42009"/>
                    </a:lnTo>
                    <a:lnTo>
                      <a:pt x="42811" y="30251"/>
                    </a:lnTo>
                    <a:lnTo>
                      <a:pt x="40428" y="18489"/>
                    </a:lnTo>
                    <a:lnTo>
                      <a:pt x="33934" y="8872"/>
                    </a:lnTo>
                    <a:lnTo>
                      <a:pt x="24316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6" name="bk object 43"/>
              <p:cNvSpPr/>
              <p:nvPr userDrawn="1"/>
            </p:nvSpPr>
            <p:spPr>
              <a:xfrm>
                <a:off x="4628868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87" name="bk object 44"/>
              <p:cNvSpPr/>
              <p:nvPr userDrawn="1"/>
            </p:nvSpPr>
            <p:spPr>
              <a:xfrm>
                <a:off x="5019474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93" name="bk object 21"/>
            <p:cNvSpPr/>
            <p:nvPr userDrawn="1"/>
          </p:nvSpPr>
          <p:spPr>
            <a:xfrm>
              <a:off x="501947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4" name="bk object 22"/>
            <p:cNvSpPr/>
            <p:nvPr userDrawn="1"/>
          </p:nvSpPr>
          <p:spPr>
            <a:xfrm>
              <a:off x="4628873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79" y="2377"/>
                  </a:lnTo>
                  <a:lnTo>
                    <a:pt x="8863" y="8859"/>
                  </a:lnTo>
                  <a:lnTo>
                    <a:pt x="2378" y="18468"/>
                  </a:lnTo>
                  <a:lnTo>
                    <a:pt x="0" y="30226"/>
                  </a:lnTo>
                  <a:lnTo>
                    <a:pt x="2378" y="41987"/>
                  </a:lnTo>
                  <a:lnTo>
                    <a:pt x="8863" y="51604"/>
                  </a:lnTo>
                  <a:lnTo>
                    <a:pt x="1847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5" name="bk object 23"/>
            <p:cNvSpPr/>
            <p:nvPr userDrawn="1"/>
          </p:nvSpPr>
          <p:spPr>
            <a:xfrm>
              <a:off x="423824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76" y="0"/>
                  </a:lnTo>
                  <a:lnTo>
                    <a:pt x="18500" y="2377"/>
                  </a:lnTo>
                  <a:lnTo>
                    <a:pt x="8875" y="8859"/>
                  </a:lnTo>
                  <a:lnTo>
                    <a:pt x="2382" y="18468"/>
                  </a:lnTo>
                  <a:lnTo>
                    <a:pt x="0" y="30226"/>
                  </a:lnTo>
                  <a:lnTo>
                    <a:pt x="2382" y="41987"/>
                  </a:lnTo>
                  <a:lnTo>
                    <a:pt x="8875" y="51604"/>
                  </a:lnTo>
                  <a:lnTo>
                    <a:pt x="18500" y="58095"/>
                  </a:lnTo>
                  <a:lnTo>
                    <a:pt x="30276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76" y="49415"/>
                  </a:lnTo>
                  <a:lnTo>
                    <a:pt x="22802" y="47904"/>
                  </a:lnTo>
                  <a:lnTo>
                    <a:pt x="16698" y="43788"/>
                  </a:lnTo>
                  <a:lnTo>
                    <a:pt x="12583" y="37687"/>
                  </a:lnTo>
                  <a:lnTo>
                    <a:pt x="11074" y="30226"/>
                  </a:lnTo>
                  <a:lnTo>
                    <a:pt x="12583" y="22768"/>
                  </a:lnTo>
                  <a:lnTo>
                    <a:pt x="16698" y="16676"/>
                  </a:lnTo>
                  <a:lnTo>
                    <a:pt x="22802" y="12568"/>
                  </a:lnTo>
                  <a:lnTo>
                    <a:pt x="30276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6" name="bk object 24"/>
            <p:cNvSpPr/>
            <p:nvPr userDrawn="1"/>
          </p:nvSpPr>
          <p:spPr>
            <a:xfrm>
              <a:off x="3847636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7" name="bk object 25"/>
            <p:cNvSpPr/>
            <p:nvPr userDrawn="1"/>
          </p:nvSpPr>
          <p:spPr>
            <a:xfrm>
              <a:off x="3457023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24" y="0"/>
                  </a:moveTo>
                  <a:lnTo>
                    <a:pt x="30264" y="0"/>
                  </a:lnTo>
                  <a:lnTo>
                    <a:pt x="18500" y="2377"/>
                  </a:lnTo>
                  <a:lnTo>
                    <a:pt x="8878" y="8859"/>
                  </a:lnTo>
                  <a:lnTo>
                    <a:pt x="2383" y="18468"/>
                  </a:lnTo>
                  <a:lnTo>
                    <a:pt x="0" y="30226"/>
                  </a:lnTo>
                  <a:lnTo>
                    <a:pt x="2383" y="41987"/>
                  </a:lnTo>
                  <a:lnTo>
                    <a:pt x="8878" y="51604"/>
                  </a:lnTo>
                  <a:lnTo>
                    <a:pt x="18500" y="58095"/>
                  </a:lnTo>
                  <a:lnTo>
                    <a:pt x="30264" y="60477"/>
                  </a:lnTo>
                  <a:lnTo>
                    <a:pt x="42824" y="60477"/>
                  </a:lnTo>
                  <a:lnTo>
                    <a:pt x="42824" y="49415"/>
                  </a:lnTo>
                  <a:lnTo>
                    <a:pt x="30264" y="49415"/>
                  </a:lnTo>
                  <a:lnTo>
                    <a:pt x="22802" y="47904"/>
                  </a:lnTo>
                  <a:lnTo>
                    <a:pt x="16702" y="43788"/>
                  </a:lnTo>
                  <a:lnTo>
                    <a:pt x="12585" y="37687"/>
                  </a:lnTo>
                  <a:lnTo>
                    <a:pt x="11074" y="30226"/>
                  </a:lnTo>
                  <a:lnTo>
                    <a:pt x="12585" y="22768"/>
                  </a:lnTo>
                  <a:lnTo>
                    <a:pt x="16702" y="16676"/>
                  </a:lnTo>
                  <a:lnTo>
                    <a:pt x="22802" y="12568"/>
                  </a:lnTo>
                  <a:lnTo>
                    <a:pt x="30264" y="11061"/>
                  </a:lnTo>
                  <a:lnTo>
                    <a:pt x="42824" y="11061"/>
                  </a:lnTo>
                  <a:lnTo>
                    <a:pt x="4282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8" name="bk object 26"/>
            <p:cNvSpPr/>
            <p:nvPr userDrawn="1"/>
          </p:nvSpPr>
          <p:spPr>
            <a:xfrm>
              <a:off x="306643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99" name="bk object 27"/>
            <p:cNvSpPr/>
            <p:nvPr userDrawn="1"/>
          </p:nvSpPr>
          <p:spPr>
            <a:xfrm>
              <a:off x="2675826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0" name="bk object 28"/>
            <p:cNvSpPr/>
            <p:nvPr userDrawn="1"/>
          </p:nvSpPr>
          <p:spPr>
            <a:xfrm>
              <a:off x="2285194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811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1" name="bk object 29"/>
            <p:cNvSpPr/>
            <p:nvPr userDrawn="1"/>
          </p:nvSpPr>
          <p:spPr>
            <a:xfrm>
              <a:off x="1894589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95" y="47904"/>
                  </a:lnTo>
                  <a:lnTo>
                    <a:pt x="16694" y="43788"/>
                  </a:lnTo>
                  <a:lnTo>
                    <a:pt x="12574" y="37687"/>
                  </a:lnTo>
                  <a:lnTo>
                    <a:pt x="11061" y="30226"/>
                  </a:lnTo>
                  <a:lnTo>
                    <a:pt x="12574" y="22768"/>
                  </a:lnTo>
                  <a:lnTo>
                    <a:pt x="16694" y="16676"/>
                  </a:lnTo>
                  <a:lnTo>
                    <a:pt x="22795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2" name="bk object 30"/>
            <p:cNvSpPr/>
            <p:nvPr userDrawn="1"/>
          </p:nvSpPr>
          <p:spPr>
            <a:xfrm>
              <a:off x="150399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3" name="bk object 31"/>
            <p:cNvSpPr/>
            <p:nvPr userDrawn="1"/>
          </p:nvSpPr>
          <p:spPr>
            <a:xfrm>
              <a:off x="1113384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9" y="47904"/>
                  </a:lnTo>
                  <a:lnTo>
                    <a:pt x="16679" y="43788"/>
                  </a:lnTo>
                  <a:lnTo>
                    <a:pt x="12568" y="37687"/>
                  </a:lnTo>
                  <a:lnTo>
                    <a:pt x="11061" y="30226"/>
                  </a:lnTo>
                  <a:lnTo>
                    <a:pt x="12568" y="22768"/>
                  </a:lnTo>
                  <a:lnTo>
                    <a:pt x="16679" y="16676"/>
                  </a:lnTo>
                  <a:lnTo>
                    <a:pt x="2277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4" name="bk object 32"/>
            <p:cNvSpPr/>
            <p:nvPr userDrawn="1"/>
          </p:nvSpPr>
          <p:spPr>
            <a:xfrm>
              <a:off x="722748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24" y="0"/>
                  </a:moveTo>
                  <a:lnTo>
                    <a:pt x="30264" y="0"/>
                  </a:lnTo>
                  <a:lnTo>
                    <a:pt x="18505" y="2377"/>
                  </a:lnTo>
                  <a:lnTo>
                    <a:pt x="8883" y="8859"/>
                  </a:lnTo>
                  <a:lnTo>
                    <a:pt x="2385" y="18468"/>
                  </a:lnTo>
                  <a:lnTo>
                    <a:pt x="0" y="30226"/>
                  </a:lnTo>
                  <a:lnTo>
                    <a:pt x="2385" y="41987"/>
                  </a:lnTo>
                  <a:lnTo>
                    <a:pt x="8883" y="51604"/>
                  </a:lnTo>
                  <a:lnTo>
                    <a:pt x="18505" y="58095"/>
                  </a:lnTo>
                  <a:lnTo>
                    <a:pt x="30264" y="60477"/>
                  </a:lnTo>
                  <a:lnTo>
                    <a:pt x="42824" y="60477"/>
                  </a:lnTo>
                  <a:lnTo>
                    <a:pt x="42824" y="49415"/>
                  </a:lnTo>
                  <a:lnTo>
                    <a:pt x="30264" y="49415"/>
                  </a:lnTo>
                  <a:lnTo>
                    <a:pt x="22802" y="47904"/>
                  </a:lnTo>
                  <a:lnTo>
                    <a:pt x="16702" y="43788"/>
                  </a:lnTo>
                  <a:lnTo>
                    <a:pt x="12585" y="37687"/>
                  </a:lnTo>
                  <a:lnTo>
                    <a:pt x="11074" y="30226"/>
                  </a:lnTo>
                  <a:lnTo>
                    <a:pt x="12585" y="22768"/>
                  </a:lnTo>
                  <a:lnTo>
                    <a:pt x="16702" y="16676"/>
                  </a:lnTo>
                  <a:lnTo>
                    <a:pt x="22802" y="12568"/>
                  </a:lnTo>
                  <a:lnTo>
                    <a:pt x="30264" y="11061"/>
                  </a:lnTo>
                  <a:lnTo>
                    <a:pt x="42824" y="11061"/>
                  </a:lnTo>
                  <a:lnTo>
                    <a:pt x="4282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5" name="bk object 33"/>
            <p:cNvSpPr/>
            <p:nvPr userDrawn="1"/>
          </p:nvSpPr>
          <p:spPr>
            <a:xfrm>
              <a:off x="722749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19" y="12572"/>
                  </a:lnTo>
                  <a:lnTo>
                    <a:pt x="26115" y="16689"/>
                  </a:lnTo>
                  <a:lnTo>
                    <a:pt x="30228" y="22789"/>
                  </a:lnTo>
                  <a:lnTo>
                    <a:pt x="31737" y="30251"/>
                  </a:lnTo>
                  <a:lnTo>
                    <a:pt x="30228" y="37708"/>
                  </a:lnTo>
                  <a:lnTo>
                    <a:pt x="26115" y="43800"/>
                  </a:lnTo>
                  <a:lnTo>
                    <a:pt x="20019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23" y="58099"/>
                  </a:lnTo>
                  <a:lnTo>
                    <a:pt x="33945" y="51617"/>
                  </a:lnTo>
                  <a:lnTo>
                    <a:pt x="40440" y="42009"/>
                  </a:lnTo>
                  <a:lnTo>
                    <a:pt x="42824" y="30251"/>
                  </a:lnTo>
                  <a:lnTo>
                    <a:pt x="40440" y="18489"/>
                  </a:lnTo>
                  <a:lnTo>
                    <a:pt x="33945" y="8872"/>
                  </a:lnTo>
                  <a:lnTo>
                    <a:pt x="24323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6" name="bk object 34"/>
            <p:cNvSpPr/>
            <p:nvPr userDrawn="1"/>
          </p:nvSpPr>
          <p:spPr>
            <a:xfrm>
              <a:off x="111338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7" name="bk object 35"/>
            <p:cNvSpPr/>
            <p:nvPr userDrawn="1"/>
          </p:nvSpPr>
          <p:spPr>
            <a:xfrm>
              <a:off x="150399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8" name="bk object 36"/>
            <p:cNvSpPr/>
            <p:nvPr userDrawn="1"/>
          </p:nvSpPr>
          <p:spPr>
            <a:xfrm>
              <a:off x="189459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7" y="12572"/>
                  </a:lnTo>
                  <a:lnTo>
                    <a:pt x="26106" y="16689"/>
                  </a:lnTo>
                  <a:lnTo>
                    <a:pt x="30217" y="22789"/>
                  </a:lnTo>
                  <a:lnTo>
                    <a:pt x="31724" y="30251"/>
                  </a:lnTo>
                  <a:lnTo>
                    <a:pt x="30217" y="37708"/>
                  </a:lnTo>
                  <a:lnTo>
                    <a:pt x="26106" y="43800"/>
                  </a:lnTo>
                  <a:lnTo>
                    <a:pt x="20007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9" name="bk object 37"/>
            <p:cNvSpPr/>
            <p:nvPr userDrawn="1"/>
          </p:nvSpPr>
          <p:spPr>
            <a:xfrm>
              <a:off x="228519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11" y="58099"/>
                  </a:lnTo>
                  <a:lnTo>
                    <a:pt x="33935" y="51617"/>
                  </a:lnTo>
                  <a:lnTo>
                    <a:pt x="40429" y="42009"/>
                  </a:lnTo>
                  <a:lnTo>
                    <a:pt x="42811" y="30251"/>
                  </a:lnTo>
                  <a:lnTo>
                    <a:pt x="40429" y="18489"/>
                  </a:lnTo>
                  <a:lnTo>
                    <a:pt x="33935" y="8872"/>
                  </a:lnTo>
                  <a:lnTo>
                    <a:pt x="24311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0" name="bk object 38"/>
            <p:cNvSpPr/>
            <p:nvPr userDrawn="1"/>
          </p:nvSpPr>
          <p:spPr>
            <a:xfrm>
              <a:off x="267580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50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21" y="58099"/>
                  </a:lnTo>
                  <a:lnTo>
                    <a:pt x="33939" y="51617"/>
                  </a:lnTo>
                  <a:lnTo>
                    <a:pt x="40429" y="42009"/>
                  </a:lnTo>
                  <a:lnTo>
                    <a:pt x="42811" y="30251"/>
                  </a:lnTo>
                  <a:lnTo>
                    <a:pt x="40429" y="18489"/>
                  </a:lnTo>
                  <a:lnTo>
                    <a:pt x="33939" y="8872"/>
                  </a:lnTo>
                  <a:lnTo>
                    <a:pt x="24321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1" name="bk object 39"/>
            <p:cNvSpPr/>
            <p:nvPr userDrawn="1"/>
          </p:nvSpPr>
          <p:spPr>
            <a:xfrm>
              <a:off x="306642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2" name="bk object 40"/>
            <p:cNvSpPr/>
            <p:nvPr userDrawn="1"/>
          </p:nvSpPr>
          <p:spPr>
            <a:xfrm>
              <a:off x="345703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7" y="12572"/>
                  </a:lnTo>
                  <a:lnTo>
                    <a:pt x="26106" y="16689"/>
                  </a:lnTo>
                  <a:lnTo>
                    <a:pt x="30217" y="22789"/>
                  </a:lnTo>
                  <a:lnTo>
                    <a:pt x="31724" y="30251"/>
                  </a:lnTo>
                  <a:lnTo>
                    <a:pt x="30217" y="37708"/>
                  </a:lnTo>
                  <a:lnTo>
                    <a:pt x="26106" y="43800"/>
                  </a:lnTo>
                  <a:lnTo>
                    <a:pt x="20007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3" name="bk object 41"/>
            <p:cNvSpPr/>
            <p:nvPr userDrawn="1"/>
          </p:nvSpPr>
          <p:spPr>
            <a:xfrm>
              <a:off x="3847639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4" name="bk object 42"/>
            <p:cNvSpPr/>
            <p:nvPr userDrawn="1"/>
          </p:nvSpPr>
          <p:spPr>
            <a:xfrm>
              <a:off x="4238244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49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16" y="58099"/>
                  </a:lnTo>
                  <a:lnTo>
                    <a:pt x="33934" y="51617"/>
                  </a:lnTo>
                  <a:lnTo>
                    <a:pt x="40428" y="42009"/>
                  </a:lnTo>
                  <a:lnTo>
                    <a:pt x="42811" y="30251"/>
                  </a:lnTo>
                  <a:lnTo>
                    <a:pt x="40428" y="18489"/>
                  </a:lnTo>
                  <a:lnTo>
                    <a:pt x="33934" y="8872"/>
                  </a:lnTo>
                  <a:lnTo>
                    <a:pt x="24316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5" name="bk object 43"/>
            <p:cNvSpPr/>
            <p:nvPr userDrawn="1"/>
          </p:nvSpPr>
          <p:spPr>
            <a:xfrm>
              <a:off x="4628868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16" name="bk object 44"/>
            <p:cNvSpPr/>
            <p:nvPr userDrawn="1"/>
          </p:nvSpPr>
          <p:spPr>
            <a:xfrm>
              <a:off x="5019474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7" name="bk object 21"/>
            <p:cNvSpPr/>
            <p:nvPr userDrawn="1"/>
          </p:nvSpPr>
          <p:spPr>
            <a:xfrm>
              <a:off x="6191296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8" name="bk object 22"/>
            <p:cNvSpPr/>
            <p:nvPr userDrawn="1"/>
          </p:nvSpPr>
          <p:spPr>
            <a:xfrm>
              <a:off x="5800698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79" y="2377"/>
                  </a:lnTo>
                  <a:lnTo>
                    <a:pt x="8863" y="8859"/>
                  </a:lnTo>
                  <a:lnTo>
                    <a:pt x="2378" y="18468"/>
                  </a:lnTo>
                  <a:lnTo>
                    <a:pt x="0" y="30226"/>
                  </a:lnTo>
                  <a:lnTo>
                    <a:pt x="2378" y="41987"/>
                  </a:lnTo>
                  <a:lnTo>
                    <a:pt x="8863" y="51604"/>
                  </a:lnTo>
                  <a:lnTo>
                    <a:pt x="1847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29" name="bk object 23"/>
            <p:cNvSpPr/>
            <p:nvPr userDrawn="1"/>
          </p:nvSpPr>
          <p:spPr>
            <a:xfrm>
              <a:off x="5410066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76" y="0"/>
                  </a:lnTo>
                  <a:lnTo>
                    <a:pt x="18500" y="2377"/>
                  </a:lnTo>
                  <a:lnTo>
                    <a:pt x="8875" y="8859"/>
                  </a:lnTo>
                  <a:lnTo>
                    <a:pt x="2382" y="18468"/>
                  </a:lnTo>
                  <a:lnTo>
                    <a:pt x="0" y="30226"/>
                  </a:lnTo>
                  <a:lnTo>
                    <a:pt x="2382" y="41987"/>
                  </a:lnTo>
                  <a:lnTo>
                    <a:pt x="8875" y="51604"/>
                  </a:lnTo>
                  <a:lnTo>
                    <a:pt x="18500" y="58095"/>
                  </a:lnTo>
                  <a:lnTo>
                    <a:pt x="30276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76" y="49415"/>
                  </a:lnTo>
                  <a:lnTo>
                    <a:pt x="22802" y="47904"/>
                  </a:lnTo>
                  <a:lnTo>
                    <a:pt x="16698" y="43788"/>
                  </a:lnTo>
                  <a:lnTo>
                    <a:pt x="12583" y="37687"/>
                  </a:lnTo>
                  <a:lnTo>
                    <a:pt x="11074" y="30226"/>
                  </a:lnTo>
                  <a:lnTo>
                    <a:pt x="12583" y="22768"/>
                  </a:lnTo>
                  <a:lnTo>
                    <a:pt x="16698" y="16676"/>
                  </a:lnTo>
                  <a:lnTo>
                    <a:pt x="22802" y="12568"/>
                  </a:lnTo>
                  <a:lnTo>
                    <a:pt x="30276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0" name="bk object 42"/>
            <p:cNvSpPr/>
            <p:nvPr userDrawn="1"/>
          </p:nvSpPr>
          <p:spPr>
            <a:xfrm>
              <a:off x="5410069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49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16" y="58099"/>
                  </a:lnTo>
                  <a:lnTo>
                    <a:pt x="33934" y="51617"/>
                  </a:lnTo>
                  <a:lnTo>
                    <a:pt x="40428" y="42009"/>
                  </a:lnTo>
                  <a:lnTo>
                    <a:pt x="42811" y="30251"/>
                  </a:lnTo>
                  <a:lnTo>
                    <a:pt x="40428" y="18489"/>
                  </a:lnTo>
                  <a:lnTo>
                    <a:pt x="33934" y="8872"/>
                  </a:lnTo>
                  <a:lnTo>
                    <a:pt x="24316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1" name="bk object 43"/>
            <p:cNvSpPr/>
            <p:nvPr userDrawn="1"/>
          </p:nvSpPr>
          <p:spPr>
            <a:xfrm>
              <a:off x="5800693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32" name="bk object 44"/>
            <p:cNvSpPr/>
            <p:nvPr userDrawn="1"/>
          </p:nvSpPr>
          <p:spPr>
            <a:xfrm>
              <a:off x="6191299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92" name="Текст 5"/>
          <p:cNvSpPr>
            <a:spLocks noGrp="1"/>
          </p:cNvSpPr>
          <p:nvPr>
            <p:ph type="body" sz="quarter" idx="10" hasCustomPrompt="1"/>
          </p:nvPr>
        </p:nvSpPr>
        <p:spPr>
          <a:xfrm>
            <a:off x="631441" y="3875681"/>
            <a:ext cx="7988684" cy="373156"/>
          </a:xfrm>
          <a:prstGeom prst="rect">
            <a:avLst/>
          </a:prstGeom>
        </p:spPr>
        <p:txBody>
          <a:bodyPr/>
          <a:lstStyle>
            <a:lvl1pPr marL="0" marR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0" marR="0" lvl="0" indent="0" algn="l" defTabSz="1007943" rtl="0" eaLnBrk="1" fontAlgn="auto" latinLnBrk="0" hangingPunct="1">
              <a:lnSpc>
                <a:spcPct val="90000"/>
              </a:lnSpc>
              <a:spcBef>
                <a:spcPts val="1102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uk-UA" dirty="0" smtClean="0"/>
              <a:t>Підзаголовок слайда</a:t>
            </a:r>
            <a:endParaRPr lang="ru-RU" dirty="0" smtClean="0"/>
          </a:p>
        </p:txBody>
      </p:sp>
      <p:grpSp>
        <p:nvGrpSpPr>
          <p:cNvPr id="120" name="Группа 119"/>
          <p:cNvGrpSpPr/>
          <p:nvPr userDrawn="1"/>
        </p:nvGrpSpPr>
        <p:grpSpPr>
          <a:xfrm>
            <a:off x="11254725" y="6700641"/>
            <a:ext cx="1813140" cy="710295"/>
            <a:chOff x="8361416" y="6085528"/>
            <a:chExt cx="1813140" cy="710295"/>
          </a:xfrm>
        </p:grpSpPr>
        <p:pic>
          <p:nvPicPr>
            <p:cNvPr id="121" name="Рисунок 120"/>
            <p:cNvPicPr>
              <a:picLocks noChangeAspect="1"/>
            </p:cNvPicPr>
            <p:nvPr userDrawn="1"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361416" y="6185860"/>
              <a:ext cx="952700" cy="506761"/>
            </a:xfrm>
            <a:prstGeom prst="rect">
              <a:avLst/>
            </a:prstGeom>
          </p:spPr>
        </p:pic>
        <p:pic>
          <p:nvPicPr>
            <p:cNvPr id="122" name="Рисунок 121"/>
            <p:cNvPicPr>
              <a:picLocks noChangeAspect="1"/>
            </p:cNvPicPr>
            <p:nvPr userDrawn="1"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991600" y="6085528"/>
              <a:ext cx="1182956" cy="710295"/>
            </a:xfrm>
            <a:prstGeom prst="rect">
              <a:avLst/>
            </a:prstGeom>
          </p:spPr>
        </p:pic>
      </p:grpSp>
      <p:pic>
        <p:nvPicPr>
          <p:cNvPr id="90" name="Рисунок 89"/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9945" y="416493"/>
            <a:ext cx="2120950" cy="1375086"/>
          </a:xfrm>
          <a:prstGeom prst="rect">
            <a:avLst/>
          </a:prstGeom>
        </p:spPr>
      </p:pic>
      <p:sp>
        <p:nvSpPr>
          <p:cNvPr id="91" name="Date Placeholder 3"/>
          <p:cNvSpPr txBox="1">
            <a:spLocks/>
          </p:cNvSpPr>
          <p:nvPr userDrawn="1"/>
        </p:nvSpPr>
        <p:spPr>
          <a:xfrm>
            <a:off x="347897" y="5126808"/>
            <a:ext cx="1082552" cy="208450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200" kern="1200" baseline="0">
                <a:solidFill>
                  <a:schemeClr val="tx1"/>
                </a:solidFill>
                <a:latin typeface="Arial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uk-UA" sz="1000" noProof="0" dirty="0" smtClean="0">
                <a:latin typeface="Calibri" pitchFamily="34" charset="0"/>
                <a:cs typeface="Calibri" pitchFamily="34" charset="0"/>
              </a:rPr>
              <a:t>Конфіденційно</a:t>
            </a:r>
            <a:endParaRPr lang="uk-UA" sz="1000" noProof="0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59282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k object 16"/>
          <p:cNvSpPr/>
          <p:nvPr userDrawn="1"/>
        </p:nvSpPr>
        <p:spPr>
          <a:xfrm>
            <a:off x="-238" y="0"/>
            <a:ext cx="13440014" cy="7559992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64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7332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704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618308" y="-1501"/>
            <a:ext cx="56605" cy="3979817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1" hasCustomPrompt="1"/>
          </p:nvPr>
        </p:nvSpPr>
        <p:spPr>
          <a:xfrm>
            <a:off x="697810" y="373615"/>
            <a:ext cx="5394326" cy="4904555"/>
          </a:xfrm>
          <a:prstGeom prst="rect">
            <a:avLst/>
          </a:prstGeom>
        </p:spPr>
        <p:txBody>
          <a:bodyPr/>
          <a:lstStyle>
            <a:lvl1pPr>
              <a:defRPr sz="3000">
                <a:solidFill>
                  <a:srgbClr val="000000"/>
                </a:solidFill>
              </a:defRPr>
            </a:lvl1pPr>
            <a:lvl2pPr>
              <a:defRPr sz="2600">
                <a:solidFill>
                  <a:srgbClr val="000000"/>
                </a:solidFill>
              </a:defRPr>
            </a:lvl2pPr>
            <a:lvl3pPr>
              <a:defRPr sz="2000">
                <a:solidFill>
                  <a:srgbClr val="000000"/>
                </a:solidFill>
              </a:defRPr>
            </a:lvl3pPr>
            <a:lvl4pPr>
              <a:defRPr sz="1800">
                <a:solidFill>
                  <a:srgbClr val="000000"/>
                </a:solidFill>
              </a:defRPr>
            </a:lvl4pPr>
            <a:lvl5pPr>
              <a:defRPr sz="1800">
                <a:solidFill>
                  <a:srgbClr val="000000"/>
                </a:solidFill>
              </a:defRPr>
            </a:lvl5pPr>
          </a:lstStyle>
          <a:p>
            <a:pPr lvl="0"/>
            <a:r>
              <a:rPr lang="ru-RU" dirty="0" err="1" smtClean="0"/>
              <a:t>Зміст</a:t>
            </a:r>
            <a:endParaRPr lang="ru-RU" dirty="0" smtClean="0"/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80233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9"/>
          <p:cNvSpPr>
            <a:spLocks noGrp="1"/>
          </p:cNvSpPr>
          <p:nvPr>
            <p:ph type="title" hasCustomPrompt="1"/>
          </p:nvPr>
        </p:nvSpPr>
        <p:spPr>
          <a:xfrm>
            <a:off x="562552" y="441550"/>
            <a:ext cx="11053044" cy="4151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600" b="1" baseline="0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uk-UA" dirty="0" smtClean="0"/>
              <a:t>Заголовок слайда</a:t>
            </a:r>
            <a:endParaRPr lang="ru-RU" dirty="0"/>
          </a:p>
        </p:txBody>
      </p:sp>
      <p:sp>
        <p:nvSpPr>
          <p:cNvPr id="6" name="Содержимое 2"/>
          <p:cNvSpPr>
            <a:spLocks noGrp="1"/>
          </p:cNvSpPr>
          <p:nvPr>
            <p:ph idx="1"/>
          </p:nvPr>
        </p:nvSpPr>
        <p:spPr>
          <a:xfrm>
            <a:off x="552696" y="952186"/>
            <a:ext cx="12411865" cy="5830641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000000"/>
                </a:solidFill>
                <a:latin typeface="+mn-lt"/>
              </a:defRPr>
            </a:lvl1pPr>
            <a:lvl2pPr>
              <a:defRPr sz="2000">
                <a:solidFill>
                  <a:srgbClr val="000000"/>
                </a:solidFill>
                <a:latin typeface="+mn-lt"/>
              </a:defRPr>
            </a:lvl2pPr>
            <a:lvl3pPr>
              <a:defRPr sz="1600">
                <a:solidFill>
                  <a:srgbClr val="000000"/>
                </a:solidFill>
                <a:latin typeface="+mn-lt"/>
              </a:defRPr>
            </a:lvl3pPr>
            <a:lvl4pPr>
              <a:defRPr sz="1400">
                <a:solidFill>
                  <a:srgbClr val="000000"/>
                </a:solidFill>
                <a:latin typeface="+mn-lt"/>
              </a:defRPr>
            </a:lvl4pPr>
            <a:lvl5pPr>
              <a:defRPr sz="1200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064864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k object 16"/>
          <p:cNvSpPr/>
          <p:nvPr userDrawn="1"/>
        </p:nvSpPr>
        <p:spPr>
          <a:xfrm>
            <a:off x="0" y="-317"/>
            <a:ext cx="13440014" cy="7559992"/>
          </a:xfrm>
          <a:prstGeom prst="rect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2464"/>
          </a:p>
        </p:txBody>
      </p:sp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96" y="1588"/>
          <a:ext cx="199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9380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96" y="1588"/>
                        <a:ext cx="199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99551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4704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113" name="Прямоугольник 112"/>
          <p:cNvSpPr/>
          <p:nvPr userDrawn="1"/>
        </p:nvSpPr>
        <p:spPr>
          <a:xfrm>
            <a:off x="456856" y="1"/>
            <a:ext cx="757645" cy="5007428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785317" y="2626579"/>
            <a:ext cx="9053182" cy="1261798"/>
          </a:xfrm>
          <a:prstGeom prst="rect">
            <a:avLst/>
          </a:prstGeom>
        </p:spPr>
        <p:txBody>
          <a:bodyPr anchor="ctr">
            <a:noAutofit/>
          </a:bodyPr>
          <a:lstStyle>
            <a:lvl1pPr algn="l">
              <a:defRPr lang="en-US" sz="4800" b="1" i="0" smtClean="0">
                <a:solidFill>
                  <a:srgbClr val="000000"/>
                </a:solidFill>
                <a:effectLst/>
                <a:latin typeface="+mj-lt"/>
              </a:defRPr>
            </a:lvl1pPr>
          </a:lstStyle>
          <a:p>
            <a:r>
              <a:rPr lang="uk-UA" dirty="0" smtClean="0"/>
              <a:t>Дякуємо за увагу</a:t>
            </a:r>
            <a:r>
              <a:rPr lang="ru-RU" dirty="0" smtClean="0"/>
              <a:t>! </a:t>
            </a:r>
            <a:endParaRPr lang="ru-RU" dirty="0"/>
          </a:p>
        </p:txBody>
      </p:sp>
      <p:grpSp>
        <p:nvGrpSpPr>
          <p:cNvPr id="32" name="Группа 31"/>
          <p:cNvGrpSpPr/>
          <p:nvPr userDrawn="1"/>
        </p:nvGrpSpPr>
        <p:grpSpPr>
          <a:xfrm>
            <a:off x="885704" y="4193262"/>
            <a:ext cx="5511731" cy="449955"/>
            <a:chOff x="722748" y="4410534"/>
            <a:chExt cx="5511731" cy="449955"/>
          </a:xfrm>
        </p:grpSpPr>
        <p:grpSp>
          <p:nvGrpSpPr>
            <p:cNvPr id="33" name="Группа 32"/>
            <p:cNvGrpSpPr/>
            <p:nvPr userDrawn="1"/>
          </p:nvGrpSpPr>
          <p:grpSpPr>
            <a:xfrm>
              <a:off x="722748" y="4410740"/>
              <a:ext cx="4339906" cy="449749"/>
              <a:chOff x="722748" y="4410740"/>
              <a:chExt cx="4339906" cy="449749"/>
            </a:xfrm>
          </p:grpSpPr>
          <p:sp>
            <p:nvSpPr>
              <p:cNvPr id="89" name="bk object 21"/>
              <p:cNvSpPr/>
              <p:nvPr userDrawn="1"/>
            </p:nvSpPr>
            <p:spPr>
              <a:xfrm>
                <a:off x="501947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0" name="bk object 22"/>
              <p:cNvSpPr/>
              <p:nvPr userDrawn="1"/>
            </p:nvSpPr>
            <p:spPr>
              <a:xfrm>
                <a:off x="4628873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79" y="2377"/>
                    </a:lnTo>
                    <a:lnTo>
                      <a:pt x="8863" y="8859"/>
                    </a:lnTo>
                    <a:lnTo>
                      <a:pt x="2378" y="18468"/>
                    </a:lnTo>
                    <a:lnTo>
                      <a:pt x="0" y="30226"/>
                    </a:lnTo>
                    <a:lnTo>
                      <a:pt x="2378" y="41987"/>
                    </a:lnTo>
                    <a:lnTo>
                      <a:pt x="8863" y="51604"/>
                    </a:lnTo>
                    <a:lnTo>
                      <a:pt x="1847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1" name="bk object 23"/>
              <p:cNvSpPr/>
              <p:nvPr userDrawn="1"/>
            </p:nvSpPr>
            <p:spPr>
              <a:xfrm>
                <a:off x="423824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11" y="0"/>
                    </a:moveTo>
                    <a:lnTo>
                      <a:pt x="30276" y="0"/>
                    </a:lnTo>
                    <a:lnTo>
                      <a:pt x="18500" y="2377"/>
                    </a:lnTo>
                    <a:lnTo>
                      <a:pt x="8875" y="8859"/>
                    </a:lnTo>
                    <a:lnTo>
                      <a:pt x="2382" y="18468"/>
                    </a:lnTo>
                    <a:lnTo>
                      <a:pt x="0" y="30226"/>
                    </a:lnTo>
                    <a:lnTo>
                      <a:pt x="2382" y="41987"/>
                    </a:lnTo>
                    <a:lnTo>
                      <a:pt x="8875" y="51604"/>
                    </a:lnTo>
                    <a:lnTo>
                      <a:pt x="18500" y="58095"/>
                    </a:lnTo>
                    <a:lnTo>
                      <a:pt x="30276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76" y="49415"/>
                    </a:lnTo>
                    <a:lnTo>
                      <a:pt x="22802" y="47904"/>
                    </a:lnTo>
                    <a:lnTo>
                      <a:pt x="16698" y="43788"/>
                    </a:lnTo>
                    <a:lnTo>
                      <a:pt x="12583" y="37687"/>
                    </a:lnTo>
                    <a:lnTo>
                      <a:pt x="11074" y="30226"/>
                    </a:lnTo>
                    <a:lnTo>
                      <a:pt x="12583" y="22768"/>
                    </a:lnTo>
                    <a:lnTo>
                      <a:pt x="16698" y="16676"/>
                    </a:lnTo>
                    <a:lnTo>
                      <a:pt x="22802" y="12568"/>
                    </a:lnTo>
                    <a:lnTo>
                      <a:pt x="30276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2" name="bk object 24"/>
              <p:cNvSpPr/>
              <p:nvPr userDrawn="1"/>
            </p:nvSpPr>
            <p:spPr>
              <a:xfrm>
                <a:off x="3847636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11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3" name="bk object 25"/>
              <p:cNvSpPr/>
              <p:nvPr userDrawn="1"/>
            </p:nvSpPr>
            <p:spPr>
              <a:xfrm>
                <a:off x="3457023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24" y="0"/>
                    </a:moveTo>
                    <a:lnTo>
                      <a:pt x="30264" y="0"/>
                    </a:lnTo>
                    <a:lnTo>
                      <a:pt x="18500" y="2377"/>
                    </a:lnTo>
                    <a:lnTo>
                      <a:pt x="8878" y="8859"/>
                    </a:lnTo>
                    <a:lnTo>
                      <a:pt x="2383" y="18468"/>
                    </a:lnTo>
                    <a:lnTo>
                      <a:pt x="0" y="30226"/>
                    </a:lnTo>
                    <a:lnTo>
                      <a:pt x="2383" y="41987"/>
                    </a:lnTo>
                    <a:lnTo>
                      <a:pt x="8878" y="51604"/>
                    </a:lnTo>
                    <a:lnTo>
                      <a:pt x="18500" y="58095"/>
                    </a:lnTo>
                    <a:lnTo>
                      <a:pt x="30264" y="60477"/>
                    </a:lnTo>
                    <a:lnTo>
                      <a:pt x="42824" y="60477"/>
                    </a:lnTo>
                    <a:lnTo>
                      <a:pt x="42824" y="49415"/>
                    </a:lnTo>
                    <a:lnTo>
                      <a:pt x="30264" y="49415"/>
                    </a:lnTo>
                    <a:lnTo>
                      <a:pt x="22802" y="47904"/>
                    </a:lnTo>
                    <a:lnTo>
                      <a:pt x="16702" y="43788"/>
                    </a:lnTo>
                    <a:lnTo>
                      <a:pt x="12585" y="37687"/>
                    </a:lnTo>
                    <a:lnTo>
                      <a:pt x="11074" y="30226"/>
                    </a:lnTo>
                    <a:lnTo>
                      <a:pt x="12585" y="22768"/>
                    </a:lnTo>
                    <a:lnTo>
                      <a:pt x="16702" y="16676"/>
                    </a:lnTo>
                    <a:lnTo>
                      <a:pt x="22802" y="12568"/>
                    </a:lnTo>
                    <a:lnTo>
                      <a:pt x="30264" y="11061"/>
                    </a:lnTo>
                    <a:lnTo>
                      <a:pt x="42824" y="11061"/>
                    </a:lnTo>
                    <a:lnTo>
                      <a:pt x="4282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4" name="bk object 26"/>
              <p:cNvSpPr/>
              <p:nvPr userDrawn="1"/>
            </p:nvSpPr>
            <p:spPr>
              <a:xfrm>
                <a:off x="306643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5" name="bk object 27"/>
              <p:cNvSpPr/>
              <p:nvPr userDrawn="1"/>
            </p:nvSpPr>
            <p:spPr>
              <a:xfrm>
                <a:off x="2675826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6" name="bk object 28"/>
              <p:cNvSpPr/>
              <p:nvPr userDrawn="1"/>
            </p:nvSpPr>
            <p:spPr>
              <a:xfrm>
                <a:off x="2285194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811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811" y="60477"/>
                    </a:lnTo>
                    <a:lnTo>
                      <a:pt x="42811" y="49415"/>
                    </a:lnTo>
                    <a:lnTo>
                      <a:pt x="30251" y="49415"/>
                    </a:lnTo>
                    <a:lnTo>
                      <a:pt x="22789" y="47904"/>
                    </a:lnTo>
                    <a:lnTo>
                      <a:pt x="16689" y="43788"/>
                    </a:lnTo>
                    <a:lnTo>
                      <a:pt x="12572" y="37687"/>
                    </a:lnTo>
                    <a:lnTo>
                      <a:pt x="11061" y="30226"/>
                    </a:lnTo>
                    <a:lnTo>
                      <a:pt x="12572" y="22768"/>
                    </a:lnTo>
                    <a:lnTo>
                      <a:pt x="16689" y="16676"/>
                    </a:lnTo>
                    <a:lnTo>
                      <a:pt x="22789" y="12568"/>
                    </a:lnTo>
                    <a:lnTo>
                      <a:pt x="30251" y="11061"/>
                    </a:lnTo>
                    <a:lnTo>
                      <a:pt x="42811" y="11061"/>
                    </a:lnTo>
                    <a:lnTo>
                      <a:pt x="42811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7" name="bk object 29"/>
              <p:cNvSpPr/>
              <p:nvPr userDrawn="1"/>
            </p:nvSpPr>
            <p:spPr>
              <a:xfrm>
                <a:off x="1894589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95" y="47904"/>
                    </a:lnTo>
                    <a:lnTo>
                      <a:pt x="16694" y="43788"/>
                    </a:lnTo>
                    <a:lnTo>
                      <a:pt x="12574" y="37687"/>
                    </a:lnTo>
                    <a:lnTo>
                      <a:pt x="11061" y="30226"/>
                    </a:lnTo>
                    <a:lnTo>
                      <a:pt x="12574" y="22768"/>
                    </a:lnTo>
                    <a:lnTo>
                      <a:pt x="16694" y="16676"/>
                    </a:lnTo>
                    <a:lnTo>
                      <a:pt x="22795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8" name="bk object 30"/>
              <p:cNvSpPr/>
              <p:nvPr userDrawn="1"/>
            </p:nvSpPr>
            <p:spPr>
              <a:xfrm>
                <a:off x="1503991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7" y="47904"/>
                    </a:lnTo>
                    <a:lnTo>
                      <a:pt x="16673" y="43788"/>
                    </a:lnTo>
                    <a:lnTo>
                      <a:pt x="12558" y="37687"/>
                    </a:lnTo>
                    <a:lnTo>
                      <a:pt x="11048" y="30226"/>
                    </a:lnTo>
                    <a:lnTo>
                      <a:pt x="12558" y="22768"/>
                    </a:lnTo>
                    <a:lnTo>
                      <a:pt x="16673" y="16676"/>
                    </a:lnTo>
                    <a:lnTo>
                      <a:pt x="22777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99" name="bk object 31"/>
              <p:cNvSpPr/>
              <p:nvPr userDrawn="1"/>
            </p:nvSpPr>
            <p:spPr>
              <a:xfrm>
                <a:off x="1113384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42786" y="0"/>
                    </a:moveTo>
                    <a:lnTo>
                      <a:pt x="30251" y="0"/>
                    </a:lnTo>
                    <a:lnTo>
                      <a:pt x="18489" y="2377"/>
                    </a:lnTo>
                    <a:lnTo>
                      <a:pt x="8872" y="8859"/>
                    </a:lnTo>
                    <a:lnTo>
                      <a:pt x="2381" y="18468"/>
                    </a:lnTo>
                    <a:lnTo>
                      <a:pt x="0" y="30226"/>
                    </a:lnTo>
                    <a:lnTo>
                      <a:pt x="2381" y="41987"/>
                    </a:lnTo>
                    <a:lnTo>
                      <a:pt x="8872" y="51604"/>
                    </a:lnTo>
                    <a:lnTo>
                      <a:pt x="18489" y="58095"/>
                    </a:lnTo>
                    <a:lnTo>
                      <a:pt x="30251" y="60477"/>
                    </a:lnTo>
                    <a:lnTo>
                      <a:pt x="42786" y="60477"/>
                    </a:lnTo>
                    <a:lnTo>
                      <a:pt x="42786" y="49415"/>
                    </a:lnTo>
                    <a:lnTo>
                      <a:pt x="30251" y="49415"/>
                    </a:lnTo>
                    <a:lnTo>
                      <a:pt x="22779" y="47904"/>
                    </a:lnTo>
                    <a:lnTo>
                      <a:pt x="16679" y="43788"/>
                    </a:lnTo>
                    <a:lnTo>
                      <a:pt x="12568" y="37687"/>
                    </a:lnTo>
                    <a:lnTo>
                      <a:pt x="11061" y="30226"/>
                    </a:lnTo>
                    <a:lnTo>
                      <a:pt x="12568" y="22768"/>
                    </a:lnTo>
                    <a:lnTo>
                      <a:pt x="16679" y="16676"/>
                    </a:lnTo>
                    <a:lnTo>
                      <a:pt x="22779" y="12568"/>
                    </a:lnTo>
                    <a:lnTo>
                      <a:pt x="30251" y="11061"/>
                    </a:lnTo>
                    <a:lnTo>
                      <a:pt x="42786" y="11061"/>
                    </a:lnTo>
                    <a:lnTo>
                      <a:pt x="42786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0" name="bk object 32"/>
              <p:cNvSpPr/>
              <p:nvPr userDrawn="1"/>
            </p:nvSpPr>
            <p:spPr>
              <a:xfrm>
                <a:off x="722748" y="4410740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42824" y="0"/>
                    </a:moveTo>
                    <a:lnTo>
                      <a:pt x="30264" y="0"/>
                    </a:lnTo>
                    <a:lnTo>
                      <a:pt x="18505" y="2377"/>
                    </a:lnTo>
                    <a:lnTo>
                      <a:pt x="8883" y="8859"/>
                    </a:lnTo>
                    <a:lnTo>
                      <a:pt x="2385" y="18468"/>
                    </a:lnTo>
                    <a:lnTo>
                      <a:pt x="0" y="30226"/>
                    </a:lnTo>
                    <a:lnTo>
                      <a:pt x="2385" y="41987"/>
                    </a:lnTo>
                    <a:lnTo>
                      <a:pt x="8883" y="51604"/>
                    </a:lnTo>
                    <a:lnTo>
                      <a:pt x="18505" y="58095"/>
                    </a:lnTo>
                    <a:lnTo>
                      <a:pt x="30264" y="60477"/>
                    </a:lnTo>
                    <a:lnTo>
                      <a:pt x="42824" y="60477"/>
                    </a:lnTo>
                    <a:lnTo>
                      <a:pt x="42824" y="49415"/>
                    </a:lnTo>
                    <a:lnTo>
                      <a:pt x="30264" y="49415"/>
                    </a:lnTo>
                    <a:lnTo>
                      <a:pt x="22802" y="47904"/>
                    </a:lnTo>
                    <a:lnTo>
                      <a:pt x="16702" y="43788"/>
                    </a:lnTo>
                    <a:lnTo>
                      <a:pt x="12585" y="37687"/>
                    </a:lnTo>
                    <a:lnTo>
                      <a:pt x="11074" y="30226"/>
                    </a:lnTo>
                    <a:lnTo>
                      <a:pt x="12585" y="22768"/>
                    </a:lnTo>
                    <a:lnTo>
                      <a:pt x="16702" y="16676"/>
                    </a:lnTo>
                    <a:lnTo>
                      <a:pt x="22802" y="12568"/>
                    </a:lnTo>
                    <a:lnTo>
                      <a:pt x="30264" y="11061"/>
                    </a:lnTo>
                    <a:lnTo>
                      <a:pt x="42824" y="11061"/>
                    </a:lnTo>
                    <a:lnTo>
                      <a:pt x="4282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1" name="bk object 33"/>
              <p:cNvSpPr/>
              <p:nvPr userDrawn="1"/>
            </p:nvSpPr>
            <p:spPr>
              <a:xfrm>
                <a:off x="722749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19" y="12572"/>
                    </a:lnTo>
                    <a:lnTo>
                      <a:pt x="26115" y="16689"/>
                    </a:lnTo>
                    <a:lnTo>
                      <a:pt x="30228" y="22789"/>
                    </a:lnTo>
                    <a:lnTo>
                      <a:pt x="31737" y="30251"/>
                    </a:lnTo>
                    <a:lnTo>
                      <a:pt x="30228" y="37708"/>
                    </a:lnTo>
                    <a:lnTo>
                      <a:pt x="26115" y="43800"/>
                    </a:lnTo>
                    <a:lnTo>
                      <a:pt x="20019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23" y="58099"/>
                    </a:lnTo>
                    <a:lnTo>
                      <a:pt x="33945" y="51617"/>
                    </a:lnTo>
                    <a:lnTo>
                      <a:pt x="40440" y="42009"/>
                    </a:lnTo>
                    <a:lnTo>
                      <a:pt x="42824" y="30251"/>
                    </a:lnTo>
                    <a:lnTo>
                      <a:pt x="40440" y="18489"/>
                    </a:lnTo>
                    <a:lnTo>
                      <a:pt x="33945" y="8872"/>
                    </a:lnTo>
                    <a:lnTo>
                      <a:pt x="24323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2" name="bk object 34"/>
              <p:cNvSpPr/>
              <p:nvPr userDrawn="1"/>
            </p:nvSpPr>
            <p:spPr>
              <a:xfrm>
                <a:off x="111338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3" name="bk object 35"/>
              <p:cNvSpPr/>
              <p:nvPr userDrawn="1"/>
            </p:nvSpPr>
            <p:spPr>
              <a:xfrm>
                <a:off x="150399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4" name="bk object 36"/>
              <p:cNvSpPr/>
              <p:nvPr userDrawn="1"/>
            </p:nvSpPr>
            <p:spPr>
              <a:xfrm>
                <a:off x="189459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7" y="12572"/>
                    </a:lnTo>
                    <a:lnTo>
                      <a:pt x="26106" y="16689"/>
                    </a:lnTo>
                    <a:lnTo>
                      <a:pt x="30217" y="22789"/>
                    </a:lnTo>
                    <a:lnTo>
                      <a:pt x="31724" y="30251"/>
                    </a:lnTo>
                    <a:lnTo>
                      <a:pt x="30217" y="37708"/>
                    </a:lnTo>
                    <a:lnTo>
                      <a:pt x="26106" y="43800"/>
                    </a:lnTo>
                    <a:lnTo>
                      <a:pt x="20007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000000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5" name="bk object 37"/>
              <p:cNvSpPr/>
              <p:nvPr userDrawn="1"/>
            </p:nvSpPr>
            <p:spPr>
              <a:xfrm>
                <a:off x="228519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11" y="58099"/>
                    </a:lnTo>
                    <a:lnTo>
                      <a:pt x="33935" y="51617"/>
                    </a:lnTo>
                    <a:lnTo>
                      <a:pt x="40429" y="42009"/>
                    </a:lnTo>
                    <a:lnTo>
                      <a:pt x="42811" y="30251"/>
                    </a:lnTo>
                    <a:lnTo>
                      <a:pt x="40429" y="18489"/>
                    </a:lnTo>
                    <a:lnTo>
                      <a:pt x="33935" y="8872"/>
                    </a:lnTo>
                    <a:lnTo>
                      <a:pt x="24311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6" name="bk object 38"/>
              <p:cNvSpPr/>
              <p:nvPr userDrawn="1"/>
            </p:nvSpPr>
            <p:spPr>
              <a:xfrm>
                <a:off x="267580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21" y="12572"/>
                    </a:lnTo>
                    <a:lnTo>
                      <a:pt x="26122" y="16689"/>
                    </a:lnTo>
                    <a:lnTo>
                      <a:pt x="30239" y="22789"/>
                    </a:lnTo>
                    <a:lnTo>
                      <a:pt x="31750" y="30251"/>
                    </a:lnTo>
                    <a:lnTo>
                      <a:pt x="30239" y="37708"/>
                    </a:lnTo>
                    <a:lnTo>
                      <a:pt x="26122" y="43800"/>
                    </a:lnTo>
                    <a:lnTo>
                      <a:pt x="20021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21" y="58099"/>
                    </a:lnTo>
                    <a:lnTo>
                      <a:pt x="33939" y="51617"/>
                    </a:lnTo>
                    <a:lnTo>
                      <a:pt x="40429" y="42009"/>
                    </a:lnTo>
                    <a:lnTo>
                      <a:pt x="42811" y="30251"/>
                    </a:lnTo>
                    <a:lnTo>
                      <a:pt x="40429" y="18489"/>
                    </a:lnTo>
                    <a:lnTo>
                      <a:pt x="33939" y="8872"/>
                    </a:lnTo>
                    <a:lnTo>
                      <a:pt x="24321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7" name="bk object 39"/>
              <p:cNvSpPr/>
              <p:nvPr userDrawn="1"/>
            </p:nvSpPr>
            <p:spPr>
              <a:xfrm>
                <a:off x="3066427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80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8" name="bk object 40"/>
              <p:cNvSpPr/>
              <p:nvPr userDrawn="1"/>
            </p:nvSpPr>
            <p:spPr>
              <a:xfrm>
                <a:off x="3457032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7" y="12572"/>
                    </a:lnTo>
                    <a:lnTo>
                      <a:pt x="26106" y="16689"/>
                    </a:lnTo>
                    <a:lnTo>
                      <a:pt x="30217" y="22789"/>
                    </a:lnTo>
                    <a:lnTo>
                      <a:pt x="31724" y="30251"/>
                    </a:lnTo>
                    <a:lnTo>
                      <a:pt x="30217" y="37708"/>
                    </a:lnTo>
                    <a:lnTo>
                      <a:pt x="26106" y="43800"/>
                    </a:lnTo>
                    <a:lnTo>
                      <a:pt x="20007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9" name="bk object 41"/>
              <p:cNvSpPr/>
              <p:nvPr userDrawn="1"/>
            </p:nvSpPr>
            <p:spPr>
              <a:xfrm>
                <a:off x="3847639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307" y="58099"/>
                    </a:lnTo>
                    <a:lnTo>
                      <a:pt x="33923" y="51617"/>
                    </a:lnTo>
                    <a:lnTo>
                      <a:pt x="40408" y="42009"/>
                    </a:lnTo>
                    <a:lnTo>
                      <a:pt x="42786" y="30251"/>
                    </a:lnTo>
                    <a:lnTo>
                      <a:pt x="40408" y="18489"/>
                    </a:lnTo>
                    <a:lnTo>
                      <a:pt x="33923" y="8872"/>
                    </a:lnTo>
                    <a:lnTo>
                      <a:pt x="24307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0" name="bk object 42"/>
              <p:cNvSpPr/>
              <p:nvPr userDrawn="1"/>
            </p:nvSpPr>
            <p:spPr>
              <a:xfrm>
                <a:off x="4238244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60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60" y="11061"/>
                    </a:lnTo>
                    <a:lnTo>
                      <a:pt x="20021" y="12572"/>
                    </a:lnTo>
                    <a:lnTo>
                      <a:pt x="26122" y="16689"/>
                    </a:lnTo>
                    <a:lnTo>
                      <a:pt x="30239" y="22789"/>
                    </a:lnTo>
                    <a:lnTo>
                      <a:pt x="31749" y="30251"/>
                    </a:lnTo>
                    <a:lnTo>
                      <a:pt x="30239" y="37708"/>
                    </a:lnTo>
                    <a:lnTo>
                      <a:pt x="26122" y="43800"/>
                    </a:lnTo>
                    <a:lnTo>
                      <a:pt x="20021" y="47908"/>
                    </a:lnTo>
                    <a:lnTo>
                      <a:pt x="12560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60" y="60477"/>
                    </a:lnTo>
                    <a:lnTo>
                      <a:pt x="24316" y="58099"/>
                    </a:lnTo>
                    <a:lnTo>
                      <a:pt x="33934" y="51617"/>
                    </a:lnTo>
                    <a:lnTo>
                      <a:pt x="40428" y="42009"/>
                    </a:lnTo>
                    <a:lnTo>
                      <a:pt x="42811" y="30251"/>
                    </a:lnTo>
                    <a:lnTo>
                      <a:pt x="40428" y="18489"/>
                    </a:lnTo>
                    <a:lnTo>
                      <a:pt x="33934" y="8872"/>
                    </a:lnTo>
                    <a:lnTo>
                      <a:pt x="24316" y="2381"/>
                    </a:lnTo>
                    <a:lnTo>
                      <a:pt x="12560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1" name="bk object 43"/>
              <p:cNvSpPr/>
              <p:nvPr userDrawn="1"/>
            </p:nvSpPr>
            <p:spPr>
              <a:xfrm>
                <a:off x="4628868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19996" y="12572"/>
                    </a:lnTo>
                    <a:lnTo>
                      <a:pt x="26096" y="16689"/>
                    </a:lnTo>
                    <a:lnTo>
                      <a:pt x="30213" y="22789"/>
                    </a:lnTo>
                    <a:lnTo>
                      <a:pt x="31724" y="30251"/>
                    </a:lnTo>
                    <a:lnTo>
                      <a:pt x="30213" y="37708"/>
                    </a:lnTo>
                    <a:lnTo>
                      <a:pt x="26096" y="43800"/>
                    </a:lnTo>
                    <a:lnTo>
                      <a:pt x="19996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2" name="bk object 44"/>
              <p:cNvSpPr/>
              <p:nvPr userDrawn="1"/>
            </p:nvSpPr>
            <p:spPr>
              <a:xfrm>
                <a:off x="5019474" y="4799529"/>
                <a:ext cx="43180" cy="60960"/>
              </a:xfrm>
              <a:custGeom>
                <a:avLst/>
                <a:gdLst/>
                <a:ahLst/>
                <a:cxnLst/>
                <a:rect l="l" t="t" r="r" b="b"/>
                <a:pathLst>
                  <a:path w="43179" h="60960">
                    <a:moveTo>
                      <a:pt x="12534" y="0"/>
                    </a:moveTo>
                    <a:lnTo>
                      <a:pt x="0" y="0"/>
                    </a:lnTo>
                    <a:lnTo>
                      <a:pt x="0" y="11061"/>
                    </a:lnTo>
                    <a:lnTo>
                      <a:pt x="12534" y="11061"/>
                    </a:lnTo>
                    <a:lnTo>
                      <a:pt x="20001" y="12572"/>
                    </a:lnTo>
                    <a:lnTo>
                      <a:pt x="26101" y="16689"/>
                    </a:lnTo>
                    <a:lnTo>
                      <a:pt x="30215" y="22789"/>
                    </a:lnTo>
                    <a:lnTo>
                      <a:pt x="31724" y="30251"/>
                    </a:lnTo>
                    <a:lnTo>
                      <a:pt x="30215" y="37708"/>
                    </a:lnTo>
                    <a:lnTo>
                      <a:pt x="26101" y="43800"/>
                    </a:lnTo>
                    <a:lnTo>
                      <a:pt x="20001" y="47908"/>
                    </a:lnTo>
                    <a:lnTo>
                      <a:pt x="12534" y="49415"/>
                    </a:lnTo>
                    <a:lnTo>
                      <a:pt x="0" y="49415"/>
                    </a:lnTo>
                    <a:lnTo>
                      <a:pt x="0" y="60477"/>
                    </a:lnTo>
                    <a:lnTo>
                      <a:pt x="12534" y="60477"/>
                    </a:lnTo>
                    <a:lnTo>
                      <a:pt x="24296" y="58099"/>
                    </a:lnTo>
                    <a:lnTo>
                      <a:pt x="33913" y="51617"/>
                    </a:lnTo>
                    <a:lnTo>
                      <a:pt x="40404" y="42009"/>
                    </a:lnTo>
                    <a:lnTo>
                      <a:pt x="42786" y="30251"/>
                    </a:lnTo>
                    <a:lnTo>
                      <a:pt x="40404" y="18489"/>
                    </a:lnTo>
                    <a:lnTo>
                      <a:pt x="33913" y="8872"/>
                    </a:lnTo>
                    <a:lnTo>
                      <a:pt x="24296" y="2381"/>
                    </a:lnTo>
                    <a:lnTo>
                      <a:pt x="12534" y="0"/>
                    </a:lnTo>
                    <a:close/>
                  </a:path>
                </a:pathLst>
              </a:custGeom>
              <a:solidFill>
                <a:srgbClr val="919396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34" name="bk object 21"/>
            <p:cNvSpPr/>
            <p:nvPr userDrawn="1"/>
          </p:nvSpPr>
          <p:spPr>
            <a:xfrm>
              <a:off x="501947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35" name="bk object 22"/>
            <p:cNvSpPr/>
            <p:nvPr userDrawn="1"/>
          </p:nvSpPr>
          <p:spPr>
            <a:xfrm>
              <a:off x="4628873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79" y="2377"/>
                  </a:lnTo>
                  <a:lnTo>
                    <a:pt x="8863" y="8859"/>
                  </a:lnTo>
                  <a:lnTo>
                    <a:pt x="2378" y="18468"/>
                  </a:lnTo>
                  <a:lnTo>
                    <a:pt x="0" y="30226"/>
                  </a:lnTo>
                  <a:lnTo>
                    <a:pt x="2378" y="41987"/>
                  </a:lnTo>
                  <a:lnTo>
                    <a:pt x="8863" y="51604"/>
                  </a:lnTo>
                  <a:lnTo>
                    <a:pt x="1847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1" name="bk object 23"/>
            <p:cNvSpPr/>
            <p:nvPr userDrawn="1"/>
          </p:nvSpPr>
          <p:spPr>
            <a:xfrm>
              <a:off x="423824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76" y="0"/>
                  </a:lnTo>
                  <a:lnTo>
                    <a:pt x="18500" y="2377"/>
                  </a:lnTo>
                  <a:lnTo>
                    <a:pt x="8875" y="8859"/>
                  </a:lnTo>
                  <a:lnTo>
                    <a:pt x="2382" y="18468"/>
                  </a:lnTo>
                  <a:lnTo>
                    <a:pt x="0" y="30226"/>
                  </a:lnTo>
                  <a:lnTo>
                    <a:pt x="2382" y="41987"/>
                  </a:lnTo>
                  <a:lnTo>
                    <a:pt x="8875" y="51604"/>
                  </a:lnTo>
                  <a:lnTo>
                    <a:pt x="18500" y="58095"/>
                  </a:lnTo>
                  <a:lnTo>
                    <a:pt x="30276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76" y="49415"/>
                  </a:lnTo>
                  <a:lnTo>
                    <a:pt x="22802" y="47904"/>
                  </a:lnTo>
                  <a:lnTo>
                    <a:pt x="16698" y="43788"/>
                  </a:lnTo>
                  <a:lnTo>
                    <a:pt x="12583" y="37687"/>
                  </a:lnTo>
                  <a:lnTo>
                    <a:pt x="11074" y="30226"/>
                  </a:lnTo>
                  <a:lnTo>
                    <a:pt x="12583" y="22768"/>
                  </a:lnTo>
                  <a:lnTo>
                    <a:pt x="16698" y="16676"/>
                  </a:lnTo>
                  <a:lnTo>
                    <a:pt x="22802" y="12568"/>
                  </a:lnTo>
                  <a:lnTo>
                    <a:pt x="30276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2" name="bk object 24"/>
            <p:cNvSpPr/>
            <p:nvPr userDrawn="1"/>
          </p:nvSpPr>
          <p:spPr>
            <a:xfrm>
              <a:off x="3847636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3" name="bk object 25"/>
            <p:cNvSpPr/>
            <p:nvPr userDrawn="1"/>
          </p:nvSpPr>
          <p:spPr>
            <a:xfrm>
              <a:off x="3457023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24" y="0"/>
                  </a:moveTo>
                  <a:lnTo>
                    <a:pt x="30264" y="0"/>
                  </a:lnTo>
                  <a:lnTo>
                    <a:pt x="18500" y="2377"/>
                  </a:lnTo>
                  <a:lnTo>
                    <a:pt x="8878" y="8859"/>
                  </a:lnTo>
                  <a:lnTo>
                    <a:pt x="2383" y="18468"/>
                  </a:lnTo>
                  <a:lnTo>
                    <a:pt x="0" y="30226"/>
                  </a:lnTo>
                  <a:lnTo>
                    <a:pt x="2383" y="41987"/>
                  </a:lnTo>
                  <a:lnTo>
                    <a:pt x="8878" y="51604"/>
                  </a:lnTo>
                  <a:lnTo>
                    <a:pt x="18500" y="58095"/>
                  </a:lnTo>
                  <a:lnTo>
                    <a:pt x="30264" y="60477"/>
                  </a:lnTo>
                  <a:lnTo>
                    <a:pt x="42824" y="60477"/>
                  </a:lnTo>
                  <a:lnTo>
                    <a:pt x="42824" y="49415"/>
                  </a:lnTo>
                  <a:lnTo>
                    <a:pt x="30264" y="49415"/>
                  </a:lnTo>
                  <a:lnTo>
                    <a:pt x="22802" y="47904"/>
                  </a:lnTo>
                  <a:lnTo>
                    <a:pt x="16702" y="43788"/>
                  </a:lnTo>
                  <a:lnTo>
                    <a:pt x="12585" y="37687"/>
                  </a:lnTo>
                  <a:lnTo>
                    <a:pt x="11074" y="30226"/>
                  </a:lnTo>
                  <a:lnTo>
                    <a:pt x="12585" y="22768"/>
                  </a:lnTo>
                  <a:lnTo>
                    <a:pt x="16702" y="16676"/>
                  </a:lnTo>
                  <a:lnTo>
                    <a:pt x="22802" y="12568"/>
                  </a:lnTo>
                  <a:lnTo>
                    <a:pt x="30264" y="11061"/>
                  </a:lnTo>
                  <a:lnTo>
                    <a:pt x="42824" y="11061"/>
                  </a:lnTo>
                  <a:lnTo>
                    <a:pt x="4282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4" name="bk object 26"/>
            <p:cNvSpPr/>
            <p:nvPr userDrawn="1"/>
          </p:nvSpPr>
          <p:spPr>
            <a:xfrm>
              <a:off x="306643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5" name="bk object 27"/>
            <p:cNvSpPr/>
            <p:nvPr userDrawn="1"/>
          </p:nvSpPr>
          <p:spPr>
            <a:xfrm>
              <a:off x="2675826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6" name="bk object 28"/>
            <p:cNvSpPr/>
            <p:nvPr userDrawn="1"/>
          </p:nvSpPr>
          <p:spPr>
            <a:xfrm>
              <a:off x="2285194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811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7" name="bk object 29"/>
            <p:cNvSpPr/>
            <p:nvPr userDrawn="1"/>
          </p:nvSpPr>
          <p:spPr>
            <a:xfrm>
              <a:off x="1894589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95" y="47904"/>
                  </a:lnTo>
                  <a:lnTo>
                    <a:pt x="16694" y="43788"/>
                  </a:lnTo>
                  <a:lnTo>
                    <a:pt x="12574" y="37687"/>
                  </a:lnTo>
                  <a:lnTo>
                    <a:pt x="11061" y="30226"/>
                  </a:lnTo>
                  <a:lnTo>
                    <a:pt x="12574" y="22768"/>
                  </a:lnTo>
                  <a:lnTo>
                    <a:pt x="16694" y="16676"/>
                  </a:lnTo>
                  <a:lnTo>
                    <a:pt x="22795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8" name="bk object 30"/>
            <p:cNvSpPr/>
            <p:nvPr userDrawn="1"/>
          </p:nvSpPr>
          <p:spPr>
            <a:xfrm>
              <a:off x="1503991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9" name="bk object 31"/>
            <p:cNvSpPr/>
            <p:nvPr userDrawn="1"/>
          </p:nvSpPr>
          <p:spPr>
            <a:xfrm>
              <a:off x="1113384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9" y="47904"/>
                  </a:lnTo>
                  <a:lnTo>
                    <a:pt x="16679" y="43788"/>
                  </a:lnTo>
                  <a:lnTo>
                    <a:pt x="12568" y="37687"/>
                  </a:lnTo>
                  <a:lnTo>
                    <a:pt x="11061" y="30226"/>
                  </a:lnTo>
                  <a:lnTo>
                    <a:pt x="12568" y="22768"/>
                  </a:lnTo>
                  <a:lnTo>
                    <a:pt x="16679" y="16676"/>
                  </a:lnTo>
                  <a:lnTo>
                    <a:pt x="2277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0" name="bk object 32"/>
            <p:cNvSpPr/>
            <p:nvPr userDrawn="1"/>
          </p:nvSpPr>
          <p:spPr>
            <a:xfrm>
              <a:off x="722748" y="4410740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24" y="0"/>
                  </a:moveTo>
                  <a:lnTo>
                    <a:pt x="30264" y="0"/>
                  </a:lnTo>
                  <a:lnTo>
                    <a:pt x="18505" y="2377"/>
                  </a:lnTo>
                  <a:lnTo>
                    <a:pt x="8883" y="8859"/>
                  </a:lnTo>
                  <a:lnTo>
                    <a:pt x="2385" y="18468"/>
                  </a:lnTo>
                  <a:lnTo>
                    <a:pt x="0" y="30226"/>
                  </a:lnTo>
                  <a:lnTo>
                    <a:pt x="2385" y="41987"/>
                  </a:lnTo>
                  <a:lnTo>
                    <a:pt x="8883" y="51604"/>
                  </a:lnTo>
                  <a:lnTo>
                    <a:pt x="18505" y="58095"/>
                  </a:lnTo>
                  <a:lnTo>
                    <a:pt x="30264" y="60477"/>
                  </a:lnTo>
                  <a:lnTo>
                    <a:pt x="42824" y="60477"/>
                  </a:lnTo>
                  <a:lnTo>
                    <a:pt x="42824" y="49415"/>
                  </a:lnTo>
                  <a:lnTo>
                    <a:pt x="30264" y="49415"/>
                  </a:lnTo>
                  <a:lnTo>
                    <a:pt x="22802" y="47904"/>
                  </a:lnTo>
                  <a:lnTo>
                    <a:pt x="16702" y="43788"/>
                  </a:lnTo>
                  <a:lnTo>
                    <a:pt x="12585" y="37687"/>
                  </a:lnTo>
                  <a:lnTo>
                    <a:pt x="11074" y="30226"/>
                  </a:lnTo>
                  <a:lnTo>
                    <a:pt x="12585" y="22768"/>
                  </a:lnTo>
                  <a:lnTo>
                    <a:pt x="16702" y="16676"/>
                  </a:lnTo>
                  <a:lnTo>
                    <a:pt x="22802" y="12568"/>
                  </a:lnTo>
                  <a:lnTo>
                    <a:pt x="30264" y="11061"/>
                  </a:lnTo>
                  <a:lnTo>
                    <a:pt x="42824" y="11061"/>
                  </a:lnTo>
                  <a:lnTo>
                    <a:pt x="4282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1" name="bk object 33"/>
            <p:cNvSpPr/>
            <p:nvPr userDrawn="1"/>
          </p:nvSpPr>
          <p:spPr>
            <a:xfrm>
              <a:off x="722749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19" y="12572"/>
                  </a:lnTo>
                  <a:lnTo>
                    <a:pt x="26115" y="16689"/>
                  </a:lnTo>
                  <a:lnTo>
                    <a:pt x="30228" y="22789"/>
                  </a:lnTo>
                  <a:lnTo>
                    <a:pt x="31737" y="30251"/>
                  </a:lnTo>
                  <a:lnTo>
                    <a:pt x="30228" y="37708"/>
                  </a:lnTo>
                  <a:lnTo>
                    <a:pt x="26115" y="43800"/>
                  </a:lnTo>
                  <a:lnTo>
                    <a:pt x="20019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23" y="58099"/>
                  </a:lnTo>
                  <a:lnTo>
                    <a:pt x="33945" y="51617"/>
                  </a:lnTo>
                  <a:lnTo>
                    <a:pt x="40440" y="42009"/>
                  </a:lnTo>
                  <a:lnTo>
                    <a:pt x="42824" y="30251"/>
                  </a:lnTo>
                  <a:lnTo>
                    <a:pt x="40440" y="18489"/>
                  </a:lnTo>
                  <a:lnTo>
                    <a:pt x="33945" y="8872"/>
                  </a:lnTo>
                  <a:lnTo>
                    <a:pt x="24323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2" name="bk object 34"/>
            <p:cNvSpPr/>
            <p:nvPr userDrawn="1"/>
          </p:nvSpPr>
          <p:spPr>
            <a:xfrm>
              <a:off x="111338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3" name="bk object 35"/>
            <p:cNvSpPr/>
            <p:nvPr userDrawn="1"/>
          </p:nvSpPr>
          <p:spPr>
            <a:xfrm>
              <a:off x="150399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4" name="bk object 36"/>
            <p:cNvSpPr/>
            <p:nvPr userDrawn="1"/>
          </p:nvSpPr>
          <p:spPr>
            <a:xfrm>
              <a:off x="189459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7" y="12572"/>
                  </a:lnTo>
                  <a:lnTo>
                    <a:pt x="26106" y="16689"/>
                  </a:lnTo>
                  <a:lnTo>
                    <a:pt x="30217" y="22789"/>
                  </a:lnTo>
                  <a:lnTo>
                    <a:pt x="31724" y="30251"/>
                  </a:lnTo>
                  <a:lnTo>
                    <a:pt x="30217" y="37708"/>
                  </a:lnTo>
                  <a:lnTo>
                    <a:pt x="26106" y="43800"/>
                  </a:lnTo>
                  <a:lnTo>
                    <a:pt x="20007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000000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5" name="bk object 37"/>
            <p:cNvSpPr/>
            <p:nvPr userDrawn="1"/>
          </p:nvSpPr>
          <p:spPr>
            <a:xfrm>
              <a:off x="228519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11" y="58099"/>
                  </a:lnTo>
                  <a:lnTo>
                    <a:pt x="33935" y="51617"/>
                  </a:lnTo>
                  <a:lnTo>
                    <a:pt x="40429" y="42009"/>
                  </a:lnTo>
                  <a:lnTo>
                    <a:pt x="42811" y="30251"/>
                  </a:lnTo>
                  <a:lnTo>
                    <a:pt x="40429" y="18489"/>
                  </a:lnTo>
                  <a:lnTo>
                    <a:pt x="33935" y="8872"/>
                  </a:lnTo>
                  <a:lnTo>
                    <a:pt x="24311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6" name="bk object 38"/>
            <p:cNvSpPr/>
            <p:nvPr userDrawn="1"/>
          </p:nvSpPr>
          <p:spPr>
            <a:xfrm>
              <a:off x="267580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50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21" y="58099"/>
                  </a:lnTo>
                  <a:lnTo>
                    <a:pt x="33939" y="51617"/>
                  </a:lnTo>
                  <a:lnTo>
                    <a:pt x="40429" y="42009"/>
                  </a:lnTo>
                  <a:lnTo>
                    <a:pt x="42811" y="30251"/>
                  </a:lnTo>
                  <a:lnTo>
                    <a:pt x="40429" y="18489"/>
                  </a:lnTo>
                  <a:lnTo>
                    <a:pt x="33939" y="8872"/>
                  </a:lnTo>
                  <a:lnTo>
                    <a:pt x="24321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7" name="bk object 39"/>
            <p:cNvSpPr/>
            <p:nvPr userDrawn="1"/>
          </p:nvSpPr>
          <p:spPr>
            <a:xfrm>
              <a:off x="3066427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80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8" name="bk object 40"/>
            <p:cNvSpPr/>
            <p:nvPr userDrawn="1"/>
          </p:nvSpPr>
          <p:spPr>
            <a:xfrm>
              <a:off x="3457032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7" y="12572"/>
                  </a:lnTo>
                  <a:lnTo>
                    <a:pt x="26106" y="16689"/>
                  </a:lnTo>
                  <a:lnTo>
                    <a:pt x="30217" y="22789"/>
                  </a:lnTo>
                  <a:lnTo>
                    <a:pt x="31724" y="30251"/>
                  </a:lnTo>
                  <a:lnTo>
                    <a:pt x="30217" y="37708"/>
                  </a:lnTo>
                  <a:lnTo>
                    <a:pt x="26106" y="43800"/>
                  </a:lnTo>
                  <a:lnTo>
                    <a:pt x="20007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9" name="bk object 41"/>
            <p:cNvSpPr/>
            <p:nvPr userDrawn="1"/>
          </p:nvSpPr>
          <p:spPr>
            <a:xfrm>
              <a:off x="3847639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307" y="58099"/>
                  </a:lnTo>
                  <a:lnTo>
                    <a:pt x="33923" y="51617"/>
                  </a:lnTo>
                  <a:lnTo>
                    <a:pt x="40408" y="42009"/>
                  </a:lnTo>
                  <a:lnTo>
                    <a:pt x="42786" y="30251"/>
                  </a:lnTo>
                  <a:lnTo>
                    <a:pt x="40408" y="18489"/>
                  </a:lnTo>
                  <a:lnTo>
                    <a:pt x="33923" y="8872"/>
                  </a:lnTo>
                  <a:lnTo>
                    <a:pt x="24307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0" name="bk object 42"/>
            <p:cNvSpPr/>
            <p:nvPr userDrawn="1"/>
          </p:nvSpPr>
          <p:spPr>
            <a:xfrm>
              <a:off x="4238244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49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16" y="58099"/>
                  </a:lnTo>
                  <a:lnTo>
                    <a:pt x="33934" y="51617"/>
                  </a:lnTo>
                  <a:lnTo>
                    <a:pt x="40428" y="42009"/>
                  </a:lnTo>
                  <a:lnTo>
                    <a:pt x="42811" y="30251"/>
                  </a:lnTo>
                  <a:lnTo>
                    <a:pt x="40428" y="18489"/>
                  </a:lnTo>
                  <a:lnTo>
                    <a:pt x="33934" y="8872"/>
                  </a:lnTo>
                  <a:lnTo>
                    <a:pt x="24316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1" name="bk object 43"/>
            <p:cNvSpPr/>
            <p:nvPr userDrawn="1"/>
          </p:nvSpPr>
          <p:spPr>
            <a:xfrm>
              <a:off x="4628868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bk object 44"/>
            <p:cNvSpPr/>
            <p:nvPr userDrawn="1"/>
          </p:nvSpPr>
          <p:spPr>
            <a:xfrm>
              <a:off x="5019474" y="4799529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bk object 21"/>
            <p:cNvSpPr/>
            <p:nvPr userDrawn="1"/>
          </p:nvSpPr>
          <p:spPr>
            <a:xfrm>
              <a:off x="6191296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89" y="2377"/>
                  </a:lnTo>
                  <a:lnTo>
                    <a:pt x="8872" y="8859"/>
                  </a:lnTo>
                  <a:lnTo>
                    <a:pt x="2381" y="18468"/>
                  </a:lnTo>
                  <a:lnTo>
                    <a:pt x="0" y="30226"/>
                  </a:lnTo>
                  <a:lnTo>
                    <a:pt x="2381" y="41987"/>
                  </a:lnTo>
                  <a:lnTo>
                    <a:pt x="8872" y="51604"/>
                  </a:lnTo>
                  <a:lnTo>
                    <a:pt x="1848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89" y="47904"/>
                  </a:lnTo>
                  <a:lnTo>
                    <a:pt x="16689" y="43788"/>
                  </a:lnTo>
                  <a:lnTo>
                    <a:pt x="12572" y="37687"/>
                  </a:lnTo>
                  <a:lnTo>
                    <a:pt x="11061" y="30226"/>
                  </a:lnTo>
                  <a:lnTo>
                    <a:pt x="12572" y="22768"/>
                  </a:lnTo>
                  <a:lnTo>
                    <a:pt x="16689" y="16676"/>
                  </a:lnTo>
                  <a:lnTo>
                    <a:pt x="22789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bk object 22"/>
            <p:cNvSpPr/>
            <p:nvPr userDrawn="1"/>
          </p:nvSpPr>
          <p:spPr>
            <a:xfrm>
              <a:off x="5800698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786" y="0"/>
                  </a:moveTo>
                  <a:lnTo>
                    <a:pt x="30251" y="0"/>
                  </a:lnTo>
                  <a:lnTo>
                    <a:pt x="18479" y="2377"/>
                  </a:lnTo>
                  <a:lnTo>
                    <a:pt x="8863" y="8859"/>
                  </a:lnTo>
                  <a:lnTo>
                    <a:pt x="2378" y="18468"/>
                  </a:lnTo>
                  <a:lnTo>
                    <a:pt x="0" y="30226"/>
                  </a:lnTo>
                  <a:lnTo>
                    <a:pt x="2378" y="41987"/>
                  </a:lnTo>
                  <a:lnTo>
                    <a:pt x="8863" y="51604"/>
                  </a:lnTo>
                  <a:lnTo>
                    <a:pt x="18479" y="58095"/>
                  </a:lnTo>
                  <a:lnTo>
                    <a:pt x="30251" y="60477"/>
                  </a:lnTo>
                  <a:lnTo>
                    <a:pt x="42786" y="60477"/>
                  </a:lnTo>
                  <a:lnTo>
                    <a:pt x="42786" y="49415"/>
                  </a:lnTo>
                  <a:lnTo>
                    <a:pt x="30251" y="49415"/>
                  </a:lnTo>
                  <a:lnTo>
                    <a:pt x="22777" y="47904"/>
                  </a:lnTo>
                  <a:lnTo>
                    <a:pt x="16673" y="43788"/>
                  </a:lnTo>
                  <a:lnTo>
                    <a:pt x="12558" y="37687"/>
                  </a:lnTo>
                  <a:lnTo>
                    <a:pt x="11048" y="30226"/>
                  </a:lnTo>
                  <a:lnTo>
                    <a:pt x="12558" y="22768"/>
                  </a:lnTo>
                  <a:lnTo>
                    <a:pt x="16673" y="16676"/>
                  </a:lnTo>
                  <a:lnTo>
                    <a:pt x="22777" y="12568"/>
                  </a:lnTo>
                  <a:lnTo>
                    <a:pt x="30251" y="11061"/>
                  </a:lnTo>
                  <a:lnTo>
                    <a:pt x="42786" y="11061"/>
                  </a:lnTo>
                  <a:lnTo>
                    <a:pt x="42786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bk object 23"/>
            <p:cNvSpPr/>
            <p:nvPr userDrawn="1"/>
          </p:nvSpPr>
          <p:spPr>
            <a:xfrm>
              <a:off x="5410066" y="4410534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42811" y="0"/>
                  </a:moveTo>
                  <a:lnTo>
                    <a:pt x="30276" y="0"/>
                  </a:lnTo>
                  <a:lnTo>
                    <a:pt x="18500" y="2377"/>
                  </a:lnTo>
                  <a:lnTo>
                    <a:pt x="8875" y="8859"/>
                  </a:lnTo>
                  <a:lnTo>
                    <a:pt x="2382" y="18468"/>
                  </a:lnTo>
                  <a:lnTo>
                    <a:pt x="0" y="30226"/>
                  </a:lnTo>
                  <a:lnTo>
                    <a:pt x="2382" y="41987"/>
                  </a:lnTo>
                  <a:lnTo>
                    <a:pt x="8875" y="51604"/>
                  </a:lnTo>
                  <a:lnTo>
                    <a:pt x="18500" y="58095"/>
                  </a:lnTo>
                  <a:lnTo>
                    <a:pt x="30276" y="60477"/>
                  </a:lnTo>
                  <a:lnTo>
                    <a:pt x="42811" y="60477"/>
                  </a:lnTo>
                  <a:lnTo>
                    <a:pt x="42811" y="49415"/>
                  </a:lnTo>
                  <a:lnTo>
                    <a:pt x="30276" y="49415"/>
                  </a:lnTo>
                  <a:lnTo>
                    <a:pt x="22802" y="47904"/>
                  </a:lnTo>
                  <a:lnTo>
                    <a:pt x="16698" y="43788"/>
                  </a:lnTo>
                  <a:lnTo>
                    <a:pt x="12583" y="37687"/>
                  </a:lnTo>
                  <a:lnTo>
                    <a:pt x="11074" y="30226"/>
                  </a:lnTo>
                  <a:lnTo>
                    <a:pt x="12583" y="22768"/>
                  </a:lnTo>
                  <a:lnTo>
                    <a:pt x="16698" y="16676"/>
                  </a:lnTo>
                  <a:lnTo>
                    <a:pt x="22802" y="12568"/>
                  </a:lnTo>
                  <a:lnTo>
                    <a:pt x="30276" y="11061"/>
                  </a:lnTo>
                  <a:lnTo>
                    <a:pt x="42811" y="11061"/>
                  </a:lnTo>
                  <a:lnTo>
                    <a:pt x="42811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bk object 42"/>
            <p:cNvSpPr/>
            <p:nvPr userDrawn="1"/>
          </p:nvSpPr>
          <p:spPr>
            <a:xfrm>
              <a:off x="5410069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60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60" y="11061"/>
                  </a:lnTo>
                  <a:lnTo>
                    <a:pt x="20021" y="12572"/>
                  </a:lnTo>
                  <a:lnTo>
                    <a:pt x="26122" y="16689"/>
                  </a:lnTo>
                  <a:lnTo>
                    <a:pt x="30239" y="22789"/>
                  </a:lnTo>
                  <a:lnTo>
                    <a:pt x="31749" y="30251"/>
                  </a:lnTo>
                  <a:lnTo>
                    <a:pt x="30239" y="37708"/>
                  </a:lnTo>
                  <a:lnTo>
                    <a:pt x="26122" y="43800"/>
                  </a:lnTo>
                  <a:lnTo>
                    <a:pt x="20021" y="47908"/>
                  </a:lnTo>
                  <a:lnTo>
                    <a:pt x="12560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60" y="60477"/>
                  </a:lnTo>
                  <a:lnTo>
                    <a:pt x="24316" y="58099"/>
                  </a:lnTo>
                  <a:lnTo>
                    <a:pt x="33934" y="51617"/>
                  </a:lnTo>
                  <a:lnTo>
                    <a:pt x="40428" y="42009"/>
                  </a:lnTo>
                  <a:lnTo>
                    <a:pt x="42811" y="30251"/>
                  </a:lnTo>
                  <a:lnTo>
                    <a:pt x="40428" y="18489"/>
                  </a:lnTo>
                  <a:lnTo>
                    <a:pt x="33934" y="8872"/>
                  </a:lnTo>
                  <a:lnTo>
                    <a:pt x="24316" y="2381"/>
                  </a:lnTo>
                  <a:lnTo>
                    <a:pt x="12560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bk object 43"/>
            <p:cNvSpPr/>
            <p:nvPr userDrawn="1"/>
          </p:nvSpPr>
          <p:spPr>
            <a:xfrm>
              <a:off x="5800693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19996" y="12572"/>
                  </a:lnTo>
                  <a:lnTo>
                    <a:pt x="26096" y="16689"/>
                  </a:lnTo>
                  <a:lnTo>
                    <a:pt x="30213" y="22789"/>
                  </a:lnTo>
                  <a:lnTo>
                    <a:pt x="31724" y="30251"/>
                  </a:lnTo>
                  <a:lnTo>
                    <a:pt x="30213" y="37708"/>
                  </a:lnTo>
                  <a:lnTo>
                    <a:pt x="26096" y="43800"/>
                  </a:lnTo>
                  <a:lnTo>
                    <a:pt x="19996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bk object 44"/>
            <p:cNvSpPr/>
            <p:nvPr userDrawn="1"/>
          </p:nvSpPr>
          <p:spPr>
            <a:xfrm>
              <a:off x="6191299" y="4799323"/>
              <a:ext cx="43180" cy="60960"/>
            </a:xfrm>
            <a:custGeom>
              <a:avLst/>
              <a:gdLst/>
              <a:ahLst/>
              <a:cxnLst/>
              <a:rect l="l" t="t" r="r" b="b"/>
              <a:pathLst>
                <a:path w="43179" h="60960">
                  <a:moveTo>
                    <a:pt x="12534" y="0"/>
                  </a:moveTo>
                  <a:lnTo>
                    <a:pt x="0" y="0"/>
                  </a:lnTo>
                  <a:lnTo>
                    <a:pt x="0" y="11061"/>
                  </a:lnTo>
                  <a:lnTo>
                    <a:pt x="12534" y="11061"/>
                  </a:lnTo>
                  <a:lnTo>
                    <a:pt x="20001" y="12572"/>
                  </a:lnTo>
                  <a:lnTo>
                    <a:pt x="26101" y="16689"/>
                  </a:lnTo>
                  <a:lnTo>
                    <a:pt x="30215" y="22789"/>
                  </a:lnTo>
                  <a:lnTo>
                    <a:pt x="31724" y="30251"/>
                  </a:lnTo>
                  <a:lnTo>
                    <a:pt x="30215" y="37708"/>
                  </a:lnTo>
                  <a:lnTo>
                    <a:pt x="26101" y="43800"/>
                  </a:lnTo>
                  <a:lnTo>
                    <a:pt x="20001" y="47908"/>
                  </a:lnTo>
                  <a:lnTo>
                    <a:pt x="12534" y="49415"/>
                  </a:lnTo>
                  <a:lnTo>
                    <a:pt x="0" y="49415"/>
                  </a:lnTo>
                  <a:lnTo>
                    <a:pt x="0" y="60477"/>
                  </a:lnTo>
                  <a:lnTo>
                    <a:pt x="12534" y="60477"/>
                  </a:lnTo>
                  <a:lnTo>
                    <a:pt x="24296" y="58099"/>
                  </a:lnTo>
                  <a:lnTo>
                    <a:pt x="33913" y="51617"/>
                  </a:lnTo>
                  <a:lnTo>
                    <a:pt x="40404" y="42009"/>
                  </a:lnTo>
                  <a:lnTo>
                    <a:pt x="42786" y="30251"/>
                  </a:lnTo>
                  <a:lnTo>
                    <a:pt x="40404" y="18489"/>
                  </a:lnTo>
                  <a:lnTo>
                    <a:pt x="33913" y="8872"/>
                  </a:lnTo>
                  <a:lnTo>
                    <a:pt x="24296" y="2381"/>
                  </a:lnTo>
                  <a:lnTo>
                    <a:pt x="12534" y="0"/>
                  </a:lnTo>
                  <a:close/>
                </a:path>
              </a:pathLst>
            </a:custGeom>
            <a:solidFill>
              <a:srgbClr val="919396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42083663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/>
          <p:cNvSpPr txBox="1">
            <a:spLocks/>
          </p:cNvSpPr>
          <p:nvPr userDrawn="1"/>
        </p:nvSpPr>
        <p:spPr>
          <a:xfrm>
            <a:off x="813058" y="739038"/>
            <a:ext cx="10485424" cy="559141"/>
          </a:xfrm>
          <a:prstGeom prst="rect">
            <a:avLst/>
          </a:prstGeom>
        </p:spPr>
        <p:txBody>
          <a:bodyPr vert="horz" lIns="114942" tIns="57471" rIns="114942" bIns="57471" rtlCol="0" anchor="ctr">
            <a:norm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3017" dirty="0">
              <a:solidFill>
                <a:schemeClr val="tx1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585655" y="1"/>
            <a:ext cx="952372" cy="888274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2464"/>
          </a:p>
        </p:txBody>
      </p:sp>
      <p:sp>
        <p:nvSpPr>
          <p:cNvPr id="8" name="Title 9"/>
          <p:cNvSpPr>
            <a:spLocks noGrp="1"/>
          </p:cNvSpPr>
          <p:nvPr>
            <p:ph type="title" hasCustomPrompt="1"/>
          </p:nvPr>
        </p:nvSpPr>
        <p:spPr>
          <a:xfrm>
            <a:off x="707137" y="441550"/>
            <a:ext cx="10649824" cy="41514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600" b="1">
                <a:solidFill>
                  <a:srgbClr val="000000"/>
                </a:solidFill>
                <a:latin typeface="+mj-lt"/>
              </a:defRPr>
            </a:lvl1pPr>
          </a:lstStyle>
          <a:p>
            <a:r>
              <a:rPr lang="uk-UA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149055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702" b="10839"/>
          <a:stretch/>
        </p:blipFill>
        <p:spPr>
          <a:xfrm>
            <a:off x="0" y="-50800"/>
            <a:ext cx="13439775" cy="763270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712" y="2375005"/>
            <a:ext cx="3950375" cy="25611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6781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12473609" y="7163300"/>
            <a:ext cx="450764" cy="36317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D2AB4A33-C29B-46DB-B7DE-3F7E22048103}" type="slidenum">
              <a:rPr lang="en-US" sz="1760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sz="1760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Title 9"/>
          <p:cNvSpPr txBox="1">
            <a:spLocks/>
          </p:cNvSpPr>
          <p:nvPr userDrawn="1"/>
        </p:nvSpPr>
        <p:spPr>
          <a:xfrm>
            <a:off x="707137" y="441550"/>
            <a:ext cx="10649824" cy="415146"/>
          </a:xfrm>
          <a:prstGeom prst="rect">
            <a:avLst/>
          </a:prstGeom>
        </p:spPr>
        <p:txBody>
          <a:bodyPr>
            <a:noAutofit/>
          </a:bodyPr>
          <a:lstStyle>
            <a:lvl1pPr algn="l" defTabSz="1007943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600" b="1" kern="1200">
                <a:solidFill>
                  <a:srgbClr val="000000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ru-RU" sz="3268" dirty="0"/>
          </a:p>
        </p:txBody>
      </p:sp>
      <p:sp>
        <p:nvSpPr>
          <p:cNvPr id="49" name="Прямоугольник 48"/>
          <p:cNvSpPr/>
          <p:nvPr userDrawn="1"/>
        </p:nvSpPr>
        <p:spPr>
          <a:xfrm>
            <a:off x="465909" y="1"/>
            <a:ext cx="757645" cy="888274"/>
          </a:xfrm>
          <a:prstGeom prst="rect">
            <a:avLst/>
          </a:prstGeom>
          <a:solidFill>
            <a:srgbClr val="FED100"/>
          </a:solidFill>
          <a:ln>
            <a:noFill/>
          </a:ln>
        </p:spPr>
        <p:style>
          <a:lnRef idx="2">
            <a:schemeClr val="accent4">
              <a:shade val="50000"/>
            </a:schemeClr>
          </a:lnRef>
          <a:fillRef idx="1">
            <a:schemeClr val="accent4"/>
          </a:fillRef>
          <a:effectRef idx="0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50" name="Рисунок 49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037657" y="480878"/>
            <a:ext cx="935877" cy="318774"/>
          </a:xfrm>
          <a:prstGeom prst="rect">
            <a:avLst/>
          </a:prstGeom>
        </p:spPr>
      </p:pic>
      <p:grpSp>
        <p:nvGrpSpPr>
          <p:cNvPr id="58" name="Группа 57"/>
          <p:cNvGrpSpPr/>
          <p:nvPr userDrawn="1"/>
        </p:nvGrpSpPr>
        <p:grpSpPr>
          <a:xfrm>
            <a:off x="10092512" y="6976271"/>
            <a:ext cx="3166616" cy="200338"/>
            <a:chOff x="10092512" y="6976271"/>
            <a:chExt cx="3166616" cy="200338"/>
          </a:xfrm>
        </p:grpSpPr>
        <p:grpSp>
          <p:nvGrpSpPr>
            <p:cNvPr id="30" name="Группа 29"/>
            <p:cNvGrpSpPr/>
            <p:nvPr userDrawn="1"/>
          </p:nvGrpSpPr>
          <p:grpSpPr>
            <a:xfrm>
              <a:off x="10947495" y="6976271"/>
              <a:ext cx="2311633" cy="200338"/>
              <a:chOff x="8189998" y="6976271"/>
              <a:chExt cx="2311633" cy="200338"/>
            </a:xfrm>
          </p:grpSpPr>
          <p:sp>
            <p:nvSpPr>
              <p:cNvPr id="31" name="object 4"/>
              <p:cNvSpPr/>
              <p:nvPr userDrawn="1"/>
            </p:nvSpPr>
            <p:spPr>
              <a:xfrm>
                <a:off x="8190002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0" y="40567"/>
                    </a:lnTo>
                    <a:lnTo>
                      <a:pt x="24747" y="36041"/>
                    </a:lnTo>
                    <a:lnTo>
                      <a:pt x="29480" y="29331"/>
                    </a:lnTo>
                    <a:lnTo>
                      <a:pt x="31216" y="21120"/>
                    </a:lnTo>
                    <a:lnTo>
                      <a:pt x="29480" y="12906"/>
                    </a:lnTo>
                    <a:lnTo>
                      <a:pt x="24747" y="6192"/>
                    </a:lnTo>
                    <a:lnTo>
                      <a:pt x="17730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2" name="object 5"/>
              <p:cNvSpPr/>
              <p:nvPr userDrawn="1"/>
            </p:nvSpPr>
            <p:spPr>
              <a:xfrm>
                <a:off x="8474982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2" y="40567"/>
                    </a:lnTo>
                    <a:lnTo>
                      <a:pt x="24753" y="36041"/>
                    </a:lnTo>
                    <a:lnTo>
                      <a:pt x="29491" y="29331"/>
                    </a:lnTo>
                    <a:lnTo>
                      <a:pt x="31229" y="21120"/>
                    </a:lnTo>
                    <a:lnTo>
                      <a:pt x="29491" y="12906"/>
                    </a:lnTo>
                    <a:lnTo>
                      <a:pt x="24753" y="6192"/>
                    </a:lnTo>
                    <a:lnTo>
                      <a:pt x="17732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3" name="object 6"/>
              <p:cNvSpPr/>
              <p:nvPr userDrawn="1"/>
            </p:nvSpPr>
            <p:spPr>
              <a:xfrm>
                <a:off x="8759956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69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77" y="13741"/>
                    </a:lnTo>
                    <a:lnTo>
                      <a:pt x="23177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69" y="42227"/>
                    </a:lnTo>
                    <a:lnTo>
                      <a:pt x="17751" y="40567"/>
                    </a:lnTo>
                    <a:lnTo>
                      <a:pt x="24768" y="36041"/>
                    </a:lnTo>
                    <a:lnTo>
                      <a:pt x="29504" y="29331"/>
                    </a:lnTo>
                    <a:lnTo>
                      <a:pt x="31241" y="21120"/>
                    </a:lnTo>
                    <a:lnTo>
                      <a:pt x="29504" y="12906"/>
                    </a:lnTo>
                    <a:lnTo>
                      <a:pt x="24768" y="6192"/>
                    </a:lnTo>
                    <a:lnTo>
                      <a:pt x="17751" y="1662"/>
                    </a:lnTo>
                    <a:lnTo>
                      <a:pt x="916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4" name="object 7"/>
              <p:cNvSpPr/>
              <p:nvPr userDrawn="1"/>
            </p:nvSpPr>
            <p:spPr>
              <a:xfrm>
                <a:off x="9044957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65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65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25" y="40567"/>
                    </a:lnTo>
                    <a:lnTo>
                      <a:pt x="24742" y="36041"/>
                    </a:lnTo>
                    <a:lnTo>
                      <a:pt x="29478" y="29331"/>
                    </a:lnTo>
                    <a:lnTo>
                      <a:pt x="31216" y="21120"/>
                    </a:lnTo>
                    <a:lnTo>
                      <a:pt x="29478" y="12906"/>
                    </a:lnTo>
                    <a:lnTo>
                      <a:pt x="24742" y="6192"/>
                    </a:lnTo>
                    <a:lnTo>
                      <a:pt x="17725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5" name="object 8"/>
              <p:cNvSpPr/>
              <p:nvPr userDrawn="1"/>
            </p:nvSpPr>
            <p:spPr>
              <a:xfrm>
                <a:off x="9329938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0" y="40567"/>
                    </a:lnTo>
                    <a:lnTo>
                      <a:pt x="24747" y="36041"/>
                    </a:lnTo>
                    <a:lnTo>
                      <a:pt x="29480" y="29331"/>
                    </a:lnTo>
                    <a:lnTo>
                      <a:pt x="31216" y="21120"/>
                    </a:lnTo>
                    <a:lnTo>
                      <a:pt x="29480" y="12906"/>
                    </a:lnTo>
                    <a:lnTo>
                      <a:pt x="24747" y="6192"/>
                    </a:lnTo>
                    <a:lnTo>
                      <a:pt x="17730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6" name="object 9"/>
              <p:cNvSpPr/>
              <p:nvPr userDrawn="1"/>
            </p:nvSpPr>
            <p:spPr>
              <a:xfrm>
                <a:off x="9614926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65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65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30" y="40567"/>
                    </a:lnTo>
                    <a:lnTo>
                      <a:pt x="24747" y="36041"/>
                    </a:lnTo>
                    <a:lnTo>
                      <a:pt x="29480" y="29331"/>
                    </a:lnTo>
                    <a:lnTo>
                      <a:pt x="31216" y="21120"/>
                    </a:lnTo>
                    <a:lnTo>
                      <a:pt x="29480" y="12906"/>
                    </a:lnTo>
                    <a:lnTo>
                      <a:pt x="24747" y="6192"/>
                    </a:lnTo>
                    <a:lnTo>
                      <a:pt x="17730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7" name="object 10"/>
              <p:cNvSpPr/>
              <p:nvPr userDrawn="1"/>
            </p:nvSpPr>
            <p:spPr>
              <a:xfrm>
                <a:off x="9899900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69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77" y="13741"/>
                    </a:lnTo>
                    <a:lnTo>
                      <a:pt x="23177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69" y="42227"/>
                    </a:lnTo>
                    <a:lnTo>
                      <a:pt x="17751" y="40567"/>
                    </a:lnTo>
                    <a:lnTo>
                      <a:pt x="24768" y="36041"/>
                    </a:lnTo>
                    <a:lnTo>
                      <a:pt x="29504" y="29331"/>
                    </a:lnTo>
                    <a:lnTo>
                      <a:pt x="31241" y="21120"/>
                    </a:lnTo>
                    <a:lnTo>
                      <a:pt x="29504" y="12906"/>
                    </a:lnTo>
                    <a:lnTo>
                      <a:pt x="24768" y="6192"/>
                    </a:lnTo>
                    <a:lnTo>
                      <a:pt x="17751" y="1662"/>
                    </a:lnTo>
                    <a:lnTo>
                      <a:pt x="916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8" name="object 11"/>
              <p:cNvSpPr/>
              <p:nvPr userDrawn="1"/>
            </p:nvSpPr>
            <p:spPr>
              <a:xfrm>
                <a:off x="10184900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52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52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25" y="40567"/>
                    </a:lnTo>
                    <a:lnTo>
                      <a:pt x="24742" y="36041"/>
                    </a:lnTo>
                    <a:lnTo>
                      <a:pt x="29478" y="29331"/>
                    </a:lnTo>
                    <a:lnTo>
                      <a:pt x="31216" y="21120"/>
                    </a:lnTo>
                    <a:lnTo>
                      <a:pt x="29478" y="12906"/>
                    </a:lnTo>
                    <a:lnTo>
                      <a:pt x="24742" y="6192"/>
                    </a:lnTo>
                    <a:lnTo>
                      <a:pt x="17725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39" name="object 12"/>
              <p:cNvSpPr/>
              <p:nvPr userDrawn="1"/>
            </p:nvSpPr>
            <p:spPr>
              <a:xfrm>
                <a:off x="10469881" y="6976271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9144" y="0"/>
                    </a:moveTo>
                    <a:lnTo>
                      <a:pt x="0" y="0"/>
                    </a:lnTo>
                    <a:lnTo>
                      <a:pt x="0" y="7721"/>
                    </a:lnTo>
                    <a:lnTo>
                      <a:pt x="16878" y="7721"/>
                    </a:lnTo>
                    <a:lnTo>
                      <a:pt x="23152" y="13741"/>
                    </a:lnTo>
                    <a:lnTo>
                      <a:pt x="23152" y="28511"/>
                    </a:lnTo>
                    <a:lnTo>
                      <a:pt x="16878" y="34505"/>
                    </a:lnTo>
                    <a:lnTo>
                      <a:pt x="0" y="34505"/>
                    </a:lnTo>
                    <a:lnTo>
                      <a:pt x="0" y="42227"/>
                    </a:lnTo>
                    <a:lnTo>
                      <a:pt x="9144" y="42227"/>
                    </a:lnTo>
                    <a:lnTo>
                      <a:pt x="17725" y="40567"/>
                    </a:lnTo>
                    <a:lnTo>
                      <a:pt x="24742" y="36041"/>
                    </a:lnTo>
                    <a:lnTo>
                      <a:pt x="29478" y="29331"/>
                    </a:lnTo>
                    <a:lnTo>
                      <a:pt x="31216" y="21120"/>
                    </a:lnTo>
                    <a:lnTo>
                      <a:pt x="29478" y="12906"/>
                    </a:lnTo>
                    <a:lnTo>
                      <a:pt x="24742" y="6192"/>
                    </a:lnTo>
                    <a:lnTo>
                      <a:pt x="17725" y="1662"/>
                    </a:lnTo>
                    <a:lnTo>
                      <a:pt x="9144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0" name="object 13"/>
              <p:cNvSpPr/>
              <p:nvPr userDrawn="1"/>
            </p:nvSpPr>
            <p:spPr>
              <a:xfrm>
                <a:off x="10469878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50" y="34505"/>
                    </a:lnTo>
                    <a:lnTo>
                      <a:pt x="8077" y="28486"/>
                    </a:lnTo>
                    <a:lnTo>
                      <a:pt x="8077" y="13715"/>
                    </a:lnTo>
                    <a:lnTo>
                      <a:pt x="14350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1" name="object 14"/>
              <p:cNvSpPr/>
              <p:nvPr userDrawn="1"/>
            </p:nvSpPr>
            <p:spPr>
              <a:xfrm>
                <a:off x="10184903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80" y="1660"/>
                    </a:lnTo>
                    <a:lnTo>
                      <a:pt x="6464" y="6186"/>
                    </a:lnTo>
                    <a:lnTo>
                      <a:pt x="1734" y="12896"/>
                    </a:lnTo>
                    <a:lnTo>
                      <a:pt x="0" y="21107"/>
                    </a:lnTo>
                    <a:lnTo>
                      <a:pt x="1734" y="29320"/>
                    </a:lnTo>
                    <a:lnTo>
                      <a:pt x="6464" y="36034"/>
                    </a:lnTo>
                    <a:lnTo>
                      <a:pt x="1348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25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25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2" name="object 15"/>
              <p:cNvSpPr/>
              <p:nvPr userDrawn="1"/>
            </p:nvSpPr>
            <p:spPr>
              <a:xfrm>
                <a:off x="9899910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29" y="0"/>
                    </a:moveTo>
                    <a:lnTo>
                      <a:pt x="22072" y="0"/>
                    </a:lnTo>
                    <a:lnTo>
                      <a:pt x="13485" y="1660"/>
                    </a:lnTo>
                    <a:lnTo>
                      <a:pt x="6469" y="6186"/>
                    </a:lnTo>
                    <a:lnTo>
                      <a:pt x="1736" y="12896"/>
                    </a:lnTo>
                    <a:lnTo>
                      <a:pt x="0" y="21107"/>
                    </a:lnTo>
                    <a:lnTo>
                      <a:pt x="1736" y="29320"/>
                    </a:lnTo>
                    <a:lnTo>
                      <a:pt x="6469" y="36034"/>
                    </a:lnTo>
                    <a:lnTo>
                      <a:pt x="13485" y="40565"/>
                    </a:lnTo>
                    <a:lnTo>
                      <a:pt x="22072" y="42227"/>
                    </a:lnTo>
                    <a:lnTo>
                      <a:pt x="31229" y="42227"/>
                    </a:lnTo>
                    <a:lnTo>
                      <a:pt x="31229" y="34505"/>
                    </a:lnTo>
                    <a:lnTo>
                      <a:pt x="14350" y="34505"/>
                    </a:lnTo>
                    <a:lnTo>
                      <a:pt x="8077" y="28486"/>
                    </a:lnTo>
                    <a:lnTo>
                      <a:pt x="8077" y="13715"/>
                    </a:lnTo>
                    <a:lnTo>
                      <a:pt x="14350" y="7721"/>
                    </a:lnTo>
                    <a:lnTo>
                      <a:pt x="31229" y="7721"/>
                    </a:lnTo>
                    <a:lnTo>
                      <a:pt x="3122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3" name="object 16"/>
              <p:cNvSpPr/>
              <p:nvPr userDrawn="1"/>
            </p:nvSpPr>
            <p:spPr>
              <a:xfrm>
                <a:off x="9614923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29" y="0"/>
                    </a:moveTo>
                    <a:lnTo>
                      <a:pt x="22059" y="0"/>
                    </a:lnTo>
                    <a:lnTo>
                      <a:pt x="13485" y="1660"/>
                    </a:lnTo>
                    <a:lnTo>
                      <a:pt x="6472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2" y="36034"/>
                    </a:lnTo>
                    <a:lnTo>
                      <a:pt x="13485" y="40565"/>
                    </a:lnTo>
                    <a:lnTo>
                      <a:pt x="22059" y="42227"/>
                    </a:lnTo>
                    <a:lnTo>
                      <a:pt x="31229" y="42227"/>
                    </a:lnTo>
                    <a:lnTo>
                      <a:pt x="31229" y="34505"/>
                    </a:lnTo>
                    <a:lnTo>
                      <a:pt x="14350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50" y="7721"/>
                    </a:lnTo>
                    <a:lnTo>
                      <a:pt x="31229" y="7721"/>
                    </a:lnTo>
                    <a:lnTo>
                      <a:pt x="3122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4" name="object 17"/>
              <p:cNvSpPr/>
              <p:nvPr userDrawn="1"/>
            </p:nvSpPr>
            <p:spPr>
              <a:xfrm>
                <a:off x="9329935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42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42" y="42227"/>
                    </a:lnTo>
                    <a:lnTo>
                      <a:pt x="31242" y="34505"/>
                    </a:lnTo>
                    <a:lnTo>
                      <a:pt x="14351" y="34505"/>
                    </a:lnTo>
                    <a:lnTo>
                      <a:pt x="8077" y="28486"/>
                    </a:lnTo>
                    <a:lnTo>
                      <a:pt x="8077" y="13715"/>
                    </a:lnTo>
                    <a:lnTo>
                      <a:pt x="14351" y="7721"/>
                    </a:lnTo>
                    <a:lnTo>
                      <a:pt x="31242" y="7721"/>
                    </a:lnTo>
                    <a:lnTo>
                      <a:pt x="31242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5" name="object 18"/>
              <p:cNvSpPr/>
              <p:nvPr userDrawn="1"/>
            </p:nvSpPr>
            <p:spPr>
              <a:xfrm>
                <a:off x="9044961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38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38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6" name="object 19"/>
              <p:cNvSpPr/>
              <p:nvPr userDrawn="1"/>
            </p:nvSpPr>
            <p:spPr>
              <a:xfrm>
                <a:off x="8759980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59" y="0"/>
                    </a:lnTo>
                    <a:lnTo>
                      <a:pt x="13485" y="1660"/>
                    </a:lnTo>
                    <a:lnTo>
                      <a:pt x="6472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2" y="36034"/>
                    </a:lnTo>
                    <a:lnTo>
                      <a:pt x="13485" y="40565"/>
                    </a:lnTo>
                    <a:lnTo>
                      <a:pt x="22059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38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38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7" name="object 20"/>
              <p:cNvSpPr/>
              <p:nvPr userDrawn="1"/>
            </p:nvSpPr>
            <p:spPr>
              <a:xfrm>
                <a:off x="8474980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29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29" y="42227"/>
                    </a:lnTo>
                    <a:lnTo>
                      <a:pt x="31229" y="34505"/>
                    </a:lnTo>
                    <a:lnTo>
                      <a:pt x="14350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50" y="7721"/>
                    </a:lnTo>
                    <a:lnTo>
                      <a:pt x="31229" y="7721"/>
                    </a:lnTo>
                    <a:lnTo>
                      <a:pt x="31229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48" name="object 21"/>
              <p:cNvSpPr/>
              <p:nvPr userDrawn="1"/>
            </p:nvSpPr>
            <p:spPr>
              <a:xfrm>
                <a:off x="8189998" y="7134064"/>
                <a:ext cx="31750" cy="42545"/>
              </a:xfrm>
              <a:custGeom>
                <a:avLst/>
                <a:gdLst/>
                <a:ahLst/>
                <a:cxnLst/>
                <a:rect l="l" t="t" r="r" b="b"/>
                <a:pathLst>
                  <a:path w="31750" h="42545">
                    <a:moveTo>
                      <a:pt x="31216" y="0"/>
                    </a:moveTo>
                    <a:lnTo>
                      <a:pt x="22072" y="0"/>
                    </a:lnTo>
                    <a:lnTo>
                      <a:pt x="13490" y="1660"/>
                    </a:lnTo>
                    <a:lnTo>
                      <a:pt x="6473" y="6186"/>
                    </a:lnTo>
                    <a:lnTo>
                      <a:pt x="1737" y="12896"/>
                    </a:lnTo>
                    <a:lnTo>
                      <a:pt x="0" y="21107"/>
                    </a:lnTo>
                    <a:lnTo>
                      <a:pt x="1737" y="29320"/>
                    </a:lnTo>
                    <a:lnTo>
                      <a:pt x="6473" y="36034"/>
                    </a:lnTo>
                    <a:lnTo>
                      <a:pt x="13490" y="40565"/>
                    </a:lnTo>
                    <a:lnTo>
                      <a:pt x="22072" y="42227"/>
                    </a:lnTo>
                    <a:lnTo>
                      <a:pt x="31216" y="42227"/>
                    </a:lnTo>
                    <a:lnTo>
                      <a:pt x="31216" y="34505"/>
                    </a:lnTo>
                    <a:lnTo>
                      <a:pt x="14350" y="34505"/>
                    </a:lnTo>
                    <a:lnTo>
                      <a:pt x="8064" y="28486"/>
                    </a:lnTo>
                    <a:lnTo>
                      <a:pt x="8064" y="13715"/>
                    </a:lnTo>
                    <a:lnTo>
                      <a:pt x="14350" y="7721"/>
                    </a:lnTo>
                    <a:lnTo>
                      <a:pt x="31216" y="7721"/>
                    </a:lnTo>
                    <a:lnTo>
                      <a:pt x="31216" y="0"/>
                    </a:lnTo>
                    <a:close/>
                  </a:path>
                </a:pathLst>
              </a:custGeom>
              <a:solidFill>
                <a:srgbClr val="9B9B9A"/>
              </a:solidFill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sp>
          <p:nvSpPr>
            <p:cNvPr id="52" name="object 4"/>
            <p:cNvSpPr/>
            <p:nvPr userDrawn="1"/>
          </p:nvSpPr>
          <p:spPr>
            <a:xfrm>
              <a:off x="10092516" y="6976271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9144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6878" y="7721"/>
                  </a:lnTo>
                  <a:lnTo>
                    <a:pt x="23152" y="13741"/>
                  </a:lnTo>
                  <a:lnTo>
                    <a:pt x="23152" y="28511"/>
                  </a:lnTo>
                  <a:lnTo>
                    <a:pt x="16878" y="34505"/>
                  </a:lnTo>
                  <a:lnTo>
                    <a:pt x="0" y="34505"/>
                  </a:lnTo>
                  <a:lnTo>
                    <a:pt x="0" y="42227"/>
                  </a:lnTo>
                  <a:lnTo>
                    <a:pt x="9144" y="42227"/>
                  </a:lnTo>
                  <a:lnTo>
                    <a:pt x="17730" y="40567"/>
                  </a:lnTo>
                  <a:lnTo>
                    <a:pt x="24747" y="36041"/>
                  </a:lnTo>
                  <a:lnTo>
                    <a:pt x="29480" y="29331"/>
                  </a:lnTo>
                  <a:lnTo>
                    <a:pt x="31216" y="21120"/>
                  </a:lnTo>
                  <a:lnTo>
                    <a:pt x="29480" y="12906"/>
                  </a:lnTo>
                  <a:lnTo>
                    <a:pt x="24747" y="6192"/>
                  </a:lnTo>
                  <a:lnTo>
                    <a:pt x="17730" y="166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3" name="object 5"/>
            <p:cNvSpPr/>
            <p:nvPr userDrawn="1"/>
          </p:nvSpPr>
          <p:spPr>
            <a:xfrm>
              <a:off x="10377496" y="6976271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9144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6878" y="7721"/>
                  </a:lnTo>
                  <a:lnTo>
                    <a:pt x="23152" y="13741"/>
                  </a:lnTo>
                  <a:lnTo>
                    <a:pt x="23152" y="28511"/>
                  </a:lnTo>
                  <a:lnTo>
                    <a:pt x="16878" y="34505"/>
                  </a:lnTo>
                  <a:lnTo>
                    <a:pt x="0" y="34505"/>
                  </a:lnTo>
                  <a:lnTo>
                    <a:pt x="0" y="42227"/>
                  </a:lnTo>
                  <a:lnTo>
                    <a:pt x="9144" y="42227"/>
                  </a:lnTo>
                  <a:lnTo>
                    <a:pt x="17732" y="40567"/>
                  </a:lnTo>
                  <a:lnTo>
                    <a:pt x="24753" y="36041"/>
                  </a:lnTo>
                  <a:lnTo>
                    <a:pt x="29491" y="29331"/>
                  </a:lnTo>
                  <a:lnTo>
                    <a:pt x="31229" y="21120"/>
                  </a:lnTo>
                  <a:lnTo>
                    <a:pt x="29491" y="12906"/>
                  </a:lnTo>
                  <a:lnTo>
                    <a:pt x="24753" y="6192"/>
                  </a:lnTo>
                  <a:lnTo>
                    <a:pt x="17732" y="1662"/>
                  </a:lnTo>
                  <a:lnTo>
                    <a:pt x="9144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4" name="object 6"/>
            <p:cNvSpPr/>
            <p:nvPr userDrawn="1"/>
          </p:nvSpPr>
          <p:spPr>
            <a:xfrm>
              <a:off x="10662470" y="6976271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9169" y="0"/>
                  </a:moveTo>
                  <a:lnTo>
                    <a:pt x="0" y="0"/>
                  </a:lnTo>
                  <a:lnTo>
                    <a:pt x="0" y="7721"/>
                  </a:lnTo>
                  <a:lnTo>
                    <a:pt x="16878" y="7721"/>
                  </a:lnTo>
                  <a:lnTo>
                    <a:pt x="23177" y="13741"/>
                  </a:lnTo>
                  <a:lnTo>
                    <a:pt x="23177" y="28511"/>
                  </a:lnTo>
                  <a:lnTo>
                    <a:pt x="16878" y="34505"/>
                  </a:lnTo>
                  <a:lnTo>
                    <a:pt x="0" y="34505"/>
                  </a:lnTo>
                  <a:lnTo>
                    <a:pt x="0" y="42227"/>
                  </a:lnTo>
                  <a:lnTo>
                    <a:pt x="9169" y="42227"/>
                  </a:lnTo>
                  <a:lnTo>
                    <a:pt x="17751" y="40567"/>
                  </a:lnTo>
                  <a:lnTo>
                    <a:pt x="24768" y="36041"/>
                  </a:lnTo>
                  <a:lnTo>
                    <a:pt x="29504" y="29331"/>
                  </a:lnTo>
                  <a:lnTo>
                    <a:pt x="31241" y="21120"/>
                  </a:lnTo>
                  <a:lnTo>
                    <a:pt x="29504" y="12906"/>
                  </a:lnTo>
                  <a:lnTo>
                    <a:pt x="24768" y="6192"/>
                  </a:lnTo>
                  <a:lnTo>
                    <a:pt x="17751" y="1662"/>
                  </a:lnTo>
                  <a:lnTo>
                    <a:pt x="9169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5" name="object 19"/>
            <p:cNvSpPr/>
            <p:nvPr userDrawn="1"/>
          </p:nvSpPr>
          <p:spPr>
            <a:xfrm>
              <a:off x="10662494" y="7134064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31216" y="0"/>
                  </a:moveTo>
                  <a:lnTo>
                    <a:pt x="22059" y="0"/>
                  </a:lnTo>
                  <a:lnTo>
                    <a:pt x="13485" y="1660"/>
                  </a:lnTo>
                  <a:lnTo>
                    <a:pt x="6472" y="6186"/>
                  </a:lnTo>
                  <a:lnTo>
                    <a:pt x="1737" y="12896"/>
                  </a:lnTo>
                  <a:lnTo>
                    <a:pt x="0" y="21107"/>
                  </a:lnTo>
                  <a:lnTo>
                    <a:pt x="1737" y="29320"/>
                  </a:lnTo>
                  <a:lnTo>
                    <a:pt x="6472" y="36034"/>
                  </a:lnTo>
                  <a:lnTo>
                    <a:pt x="13485" y="40565"/>
                  </a:lnTo>
                  <a:lnTo>
                    <a:pt x="22059" y="42227"/>
                  </a:lnTo>
                  <a:lnTo>
                    <a:pt x="31216" y="42227"/>
                  </a:lnTo>
                  <a:lnTo>
                    <a:pt x="31216" y="34505"/>
                  </a:lnTo>
                  <a:lnTo>
                    <a:pt x="14338" y="34505"/>
                  </a:lnTo>
                  <a:lnTo>
                    <a:pt x="8064" y="28486"/>
                  </a:lnTo>
                  <a:lnTo>
                    <a:pt x="8064" y="13715"/>
                  </a:lnTo>
                  <a:lnTo>
                    <a:pt x="14338" y="7721"/>
                  </a:lnTo>
                  <a:lnTo>
                    <a:pt x="31216" y="7721"/>
                  </a:lnTo>
                  <a:lnTo>
                    <a:pt x="31216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6" name="object 20"/>
            <p:cNvSpPr/>
            <p:nvPr userDrawn="1"/>
          </p:nvSpPr>
          <p:spPr>
            <a:xfrm>
              <a:off x="10377494" y="7134064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31229" y="0"/>
                  </a:moveTo>
                  <a:lnTo>
                    <a:pt x="22072" y="0"/>
                  </a:lnTo>
                  <a:lnTo>
                    <a:pt x="13490" y="1660"/>
                  </a:lnTo>
                  <a:lnTo>
                    <a:pt x="6473" y="6186"/>
                  </a:lnTo>
                  <a:lnTo>
                    <a:pt x="1737" y="12896"/>
                  </a:lnTo>
                  <a:lnTo>
                    <a:pt x="0" y="21107"/>
                  </a:lnTo>
                  <a:lnTo>
                    <a:pt x="1737" y="29320"/>
                  </a:lnTo>
                  <a:lnTo>
                    <a:pt x="6473" y="36034"/>
                  </a:lnTo>
                  <a:lnTo>
                    <a:pt x="13490" y="40565"/>
                  </a:lnTo>
                  <a:lnTo>
                    <a:pt x="22072" y="42227"/>
                  </a:lnTo>
                  <a:lnTo>
                    <a:pt x="31229" y="42227"/>
                  </a:lnTo>
                  <a:lnTo>
                    <a:pt x="31229" y="34505"/>
                  </a:lnTo>
                  <a:lnTo>
                    <a:pt x="14350" y="34505"/>
                  </a:lnTo>
                  <a:lnTo>
                    <a:pt x="8064" y="28486"/>
                  </a:lnTo>
                  <a:lnTo>
                    <a:pt x="8064" y="13715"/>
                  </a:lnTo>
                  <a:lnTo>
                    <a:pt x="14350" y="7721"/>
                  </a:lnTo>
                  <a:lnTo>
                    <a:pt x="31229" y="7721"/>
                  </a:lnTo>
                  <a:lnTo>
                    <a:pt x="31229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57" name="object 21"/>
            <p:cNvSpPr/>
            <p:nvPr userDrawn="1"/>
          </p:nvSpPr>
          <p:spPr>
            <a:xfrm>
              <a:off x="10092512" y="7134064"/>
              <a:ext cx="31750" cy="42545"/>
            </a:xfrm>
            <a:custGeom>
              <a:avLst/>
              <a:gdLst/>
              <a:ahLst/>
              <a:cxnLst/>
              <a:rect l="l" t="t" r="r" b="b"/>
              <a:pathLst>
                <a:path w="31750" h="42545">
                  <a:moveTo>
                    <a:pt x="31216" y="0"/>
                  </a:moveTo>
                  <a:lnTo>
                    <a:pt x="22072" y="0"/>
                  </a:lnTo>
                  <a:lnTo>
                    <a:pt x="13490" y="1660"/>
                  </a:lnTo>
                  <a:lnTo>
                    <a:pt x="6473" y="6186"/>
                  </a:lnTo>
                  <a:lnTo>
                    <a:pt x="1737" y="12896"/>
                  </a:lnTo>
                  <a:lnTo>
                    <a:pt x="0" y="21107"/>
                  </a:lnTo>
                  <a:lnTo>
                    <a:pt x="1737" y="29320"/>
                  </a:lnTo>
                  <a:lnTo>
                    <a:pt x="6473" y="36034"/>
                  </a:lnTo>
                  <a:lnTo>
                    <a:pt x="13490" y="40565"/>
                  </a:lnTo>
                  <a:lnTo>
                    <a:pt x="22072" y="42227"/>
                  </a:lnTo>
                  <a:lnTo>
                    <a:pt x="31216" y="42227"/>
                  </a:lnTo>
                  <a:lnTo>
                    <a:pt x="31216" y="34505"/>
                  </a:lnTo>
                  <a:lnTo>
                    <a:pt x="14350" y="34505"/>
                  </a:lnTo>
                  <a:lnTo>
                    <a:pt x="8064" y="28486"/>
                  </a:lnTo>
                  <a:lnTo>
                    <a:pt x="8064" y="13715"/>
                  </a:lnTo>
                  <a:lnTo>
                    <a:pt x="14350" y="7721"/>
                  </a:lnTo>
                  <a:lnTo>
                    <a:pt x="31216" y="7721"/>
                  </a:lnTo>
                  <a:lnTo>
                    <a:pt x="31216" y="0"/>
                  </a:lnTo>
                  <a:close/>
                </a:path>
              </a:pathLst>
            </a:custGeom>
            <a:solidFill>
              <a:srgbClr val="9B9B9A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600839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9" r:id="rId1"/>
    <p:sldLayoutId id="2147484291" r:id="rId2"/>
    <p:sldLayoutId id="2147484293" r:id="rId3"/>
    <p:sldLayoutId id="2147484294" r:id="rId4"/>
    <p:sldLayoutId id="2147484188" r:id="rId5"/>
    <p:sldLayoutId id="2147484295" r:id="rId6"/>
  </p:sldLayoutIdLst>
  <p:hf hdr="0" dt="0"/>
  <p:txStyles>
    <p:titleStyle>
      <a:lvl1pPr algn="l" defTabSz="1007943" rtl="0" eaLnBrk="1" latinLnBrk="0" hangingPunct="1">
        <a:lnSpc>
          <a:spcPct val="90000"/>
        </a:lnSpc>
        <a:spcBef>
          <a:spcPct val="0"/>
        </a:spcBef>
        <a:buNone/>
        <a:defRPr sz="485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986" indent="-251986" algn="l" defTabSz="1007943" rtl="0" eaLnBrk="1" latinLnBrk="0" hangingPunct="1">
        <a:lnSpc>
          <a:spcPct val="90000"/>
        </a:lnSpc>
        <a:spcBef>
          <a:spcPts val="1102"/>
        </a:spcBef>
        <a:buFont typeface="Arial" panose="020B0604020202020204" pitchFamily="34" charset="0"/>
        <a:buChar char="•"/>
        <a:defRPr sz="3086" kern="1200">
          <a:solidFill>
            <a:schemeClr val="tx1"/>
          </a:solidFill>
          <a:latin typeface="+mn-lt"/>
          <a:ea typeface="+mn-ea"/>
          <a:cs typeface="+mn-cs"/>
        </a:defRPr>
      </a:lvl1pPr>
      <a:lvl2pPr marL="75595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646" kern="1200">
          <a:solidFill>
            <a:schemeClr val="tx1"/>
          </a:solidFill>
          <a:latin typeface="+mn-lt"/>
          <a:ea typeface="+mn-ea"/>
          <a:cs typeface="+mn-cs"/>
        </a:defRPr>
      </a:lvl2pPr>
      <a:lvl3pPr marL="1259929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2205" kern="1200">
          <a:solidFill>
            <a:schemeClr val="tx1"/>
          </a:solidFill>
          <a:latin typeface="+mn-lt"/>
          <a:ea typeface="+mn-ea"/>
          <a:cs typeface="+mn-cs"/>
        </a:defRPr>
      </a:lvl3pPr>
      <a:lvl4pPr marL="1763900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267872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771844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275815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779787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283758" indent="-251986" algn="l" defTabSz="1007943" rtl="0" eaLnBrk="1" latinLnBrk="0" hangingPunct="1">
        <a:lnSpc>
          <a:spcPct val="90000"/>
        </a:lnSpc>
        <a:spcBef>
          <a:spcPts val="551"/>
        </a:spcBef>
        <a:buFont typeface="Arial" panose="020B0604020202020204" pitchFamily="34" charset="0"/>
        <a:buChar char="•"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3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489450" y="2557005"/>
            <a:ext cx="11312149" cy="1230996"/>
          </a:xfrm>
        </p:spPr>
        <p:txBody>
          <a:bodyPr/>
          <a:lstStyle/>
          <a:p>
            <a:r>
              <a:rPr lang="ru-RU" dirty="0" smtClean="0"/>
              <a:t>Правовое регулирование в альтернативной энергетике – поддержка или препятствие?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0"/>
          </p:nvPr>
        </p:nvSpPr>
        <p:spPr>
          <a:xfrm>
            <a:off x="7890251" y="3917210"/>
            <a:ext cx="5199584" cy="825528"/>
          </a:xfrm>
        </p:spPr>
        <p:txBody>
          <a:bodyPr/>
          <a:lstStyle/>
          <a:p>
            <a:r>
              <a:rPr lang="ru-RU" i="1" dirty="0" smtClean="0"/>
              <a:t>Богиня Татьяна, </a:t>
            </a:r>
          </a:p>
          <a:p>
            <a:r>
              <a:rPr lang="ru-RU" i="1" dirty="0" smtClean="0"/>
              <a:t>Начальник юридического отдела ДТЭК ВИЭ</a:t>
            </a:r>
            <a:endParaRPr lang="ru-RU" i="1" dirty="0"/>
          </a:p>
        </p:txBody>
      </p:sp>
    </p:spTree>
    <p:extLst>
      <p:ext uri="{BB962C8B-B14F-4D97-AF65-F5344CB8AC3E}">
        <p14:creationId xmlns:p14="http://schemas.microsoft.com/office/powerpoint/2010/main" val="3194004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3"/>
          <p:cNvSpPr>
            <a:spLocks noGrp="1"/>
          </p:cNvSpPr>
          <p:nvPr>
            <p:ph type="body" sz="quarter" idx="11"/>
          </p:nvPr>
        </p:nvSpPr>
        <p:spPr>
          <a:xfrm>
            <a:off x="697809" y="373615"/>
            <a:ext cx="11795677" cy="4904555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endParaRPr lang="uk-UA" b="1" dirty="0" smtClean="0"/>
          </a:p>
          <a:p>
            <a:pPr marL="0" indent="0">
              <a:buNone/>
            </a:pPr>
            <a:r>
              <a:rPr lang="uk-UA" b="1" dirty="0" err="1" smtClean="0"/>
              <a:t>Содержание</a:t>
            </a:r>
            <a:endParaRPr lang="uk-UA" b="1" dirty="0" smtClean="0"/>
          </a:p>
          <a:p>
            <a:pPr marL="0" indent="0">
              <a:buNone/>
            </a:pPr>
            <a:endParaRPr lang="ru-RU" b="1" dirty="0" smtClean="0"/>
          </a:p>
          <a:p>
            <a:pPr marL="514350" lvl="0" indent="-514350">
              <a:buAutoNum type="arabicPeriod"/>
            </a:pPr>
            <a:r>
              <a:rPr lang="ru-RU" dirty="0" smtClean="0"/>
              <a:t>Мировые </a:t>
            </a:r>
            <a:r>
              <a:rPr lang="ru-RU" dirty="0"/>
              <a:t>тренды в </a:t>
            </a:r>
            <a:r>
              <a:rPr lang="ru-RU" dirty="0" smtClean="0"/>
              <a:t>энергетике</a:t>
            </a:r>
          </a:p>
          <a:p>
            <a:pPr marL="514350" lvl="0" indent="-514350">
              <a:buAutoNum type="arabicPeriod"/>
            </a:pPr>
            <a:endParaRPr lang="ru-RU" dirty="0" smtClean="0"/>
          </a:p>
          <a:p>
            <a:pPr marL="514350" lvl="0" indent="-514350">
              <a:buAutoNum type="arabicPeriod"/>
            </a:pPr>
            <a:r>
              <a:rPr lang="ru-RU" dirty="0" smtClean="0"/>
              <a:t>Текущая </a:t>
            </a:r>
            <a:r>
              <a:rPr lang="ru-RU" dirty="0"/>
              <a:t>ситуация на рынке альтернативной энергетики </a:t>
            </a:r>
            <a:r>
              <a:rPr lang="ru-RU" dirty="0" smtClean="0"/>
              <a:t>Украины</a:t>
            </a:r>
          </a:p>
          <a:p>
            <a:pPr marL="514350" lvl="0" indent="-514350">
              <a:buAutoNum type="arabicPeriod"/>
            </a:pPr>
            <a:endParaRPr lang="ru-RU" dirty="0" smtClean="0"/>
          </a:p>
          <a:p>
            <a:pPr marL="514350" lvl="0" indent="-514350">
              <a:buAutoNum type="arabicPeriod"/>
            </a:pPr>
            <a:r>
              <a:rPr lang="ru-RU" dirty="0" smtClean="0"/>
              <a:t>Балансирующие </a:t>
            </a:r>
            <a:r>
              <a:rPr lang="ru-RU" dirty="0"/>
              <a:t>мощности, почему это </a:t>
            </a:r>
            <a:r>
              <a:rPr lang="ru-RU" dirty="0" smtClean="0"/>
              <a:t>важно?</a:t>
            </a:r>
          </a:p>
          <a:p>
            <a:pPr marL="514350" lvl="0" indent="-514350">
              <a:buAutoNum type="arabicPeriod"/>
            </a:pPr>
            <a:endParaRPr lang="ru-RU" dirty="0" smtClean="0"/>
          </a:p>
          <a:p>
            <a:pPr marL="514350" lvl="0" indent="-514350">
              <a:buAutoNum type="arabicPeriod"/>
            </a:pPr>
            <a:r>
              <a:rPr lang="ru-RU" dirty="0" smtClean="0"/>
              <a:t>Нормативная </a:t>
            </a:r>
            <a:r>
              <a:rPr lang="ru-RU" dirty="0"/>
              <a:t>база: проблематика и перспективы</a:t>
            </a:r>
          </a:p>
          <a:p>
            <a:pPr marL="0" indent="0">
              <a:buNone/>
            </a:pPr>
            <a:endParaRPr lang="ru-RU" dirty="0" smtClean="0"/>
          </a:p>
          <a:p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14911007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lvl="0" indent="-514350"/>
            <a:r>
              <a:rPr lang="ru-RU" dirty="0"/>
              <a:t>Мировые тренды в энергетике</a:t>
            </a:r>
          </a:p>
        </p:txBody>
      </p:sp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0748" y="1133061"/>
            <a:ext cx="10287000" cy="5675243"/>
          </a:xfrm>
        </p:spPr>
      </p:pic>
    </p:spTree>
    <p:extLst>
      <p:ext uri="{BB962C8B-B14F-4D97-AF65-F5344CB8AC3E}">
        <p14:creationId xmlns:p14="http://schemas.microsoft.com/office/powerpoint/2010/main" val="1929366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514350" lvl="0" indent="-514350"/>
            <a:r>
              <a:rPr lang="ru-RU" dirty="0"/>
              <a:t>Текущая ситуация на рынке альтернативной энергетики Украины</a:t>
            </a:r>
          </a:p>
        </p:txBody>
      </p:sp>
      <p:pic>
        <p:nvPicPr>
          <p:cNvPr id="2" name="video-7d79c288271478ffe6c7a3d00f6a67b8-V">
            <a:hlinkClick r:id="" action="ppaction://media"/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351722" y="972377"/>
            <a:ext cx="10674626" cy="5935317"/>
          </a:xfrm>
        </p:spPr>
      </p:pic>
    </p:spTree>
    <p:extLst>
      <p:ext uri="{BB962C8B-B14F-4D97-AF65-F5344CB8AC3E}">
        <p14:creationId xmlns:p14="http://schemas.microsoft.com/office/powerpoint/2010/main" val="23707607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Балансирующие мощности, почему это важно?</a:t>
            </a:r>
            <a:br>
              <a:rPr lang="ru-RU" dirty="0"/>
            </a:br>
            <a:endParaRPr lang="ru-RU" dirty="0"/>
          </a:p>
        </p:txBody>
      </p:sp>
      <p:pic>
        <p:nvPicPr>
          <p:cNvPr id="2" name="Объект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1296" y="985873"/>
            <a:ext cx="10545417" cy="5919494"/>
          </a:xfrm>
        </p:spPr>
      </p:pic>
    </p:spTree>
    <p:extLst>
      <p:ext uri="{BB962C8B-B14F-4D97-AF65-F5344CB8AC3E}">
        <p14:creationId xmlns:p14="http://schemas.microsoft.com/office/powerpoint/2010/main" val="19977091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ормативная база: проблематика и перспективы</a:t>
            </a:r>
            <a:br>
              <a:rPr lang="ru-RU" dirty="0"/>
            </a:br>
            <a:endParaRPr lang="ru-RU" dirty="0"/>
          </a:p>
        </p:txBody>
      </p:sp>
      <p:pic>
        <p:nvPicPr>
          <p:cNvPr id="2" name="Объект 1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21904" y="1003196"/>
            <a:ext cx="10565295" cy="5933602"/>
          </a:xfrm>
        </p:spPr>
      </p:pic>
    </p:spTree>
    <p:extLst>
      <p:ext uri="{BB962C8B-B14F-4D97-AF65-F5344CB8AC3E}">
        <p14:creationId xmlns:p14="http://schemas.microsoft.com/office/powerpoint/2010/main" val="1477731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Нормативная база: проблематика и перспективы</a:t>
            </a:r>
          </a:p>
        </p:txBody>
      </p:sp>
      <p:graphicFrame>
        <p:nvGraphicFramePr>
          <p:cNvPr id="4" name="Объект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75073861"/>
              </p:ext>
            </p:extLst>
          </p:nvPr>
        </p:nvGraphicFramePr>
        <p:xfrm>
          <a:off x="552450" y="952499"/>
          <a:ext cx="12418115" cy="607446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19981619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9610259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490030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PREVIOUSNAME" val="C:\Users\Chinnu Lukose\Desktop\WIP\Advisory Council 28 Feb 2018 pre-final_260219.pptx"/>
  <p:tag name="MTBTACCENT" val="Text2ColorBoldText"/>
  <p:tag name="THINKCELLPRESENTATIONDONOTDELETE" val="&lt;?xml version=&quot;1.0&quot; encoding=&quot;UTF-16&quot; standalone=&quot;yes&quot;?&gt;&lt;root reqver=&quot;25060&quot;&gt;&lt;version val=&quot;2789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4&quot;&gt;&lt;elem m_fUsage=&quot;2.35668314834830017190E+00&quot;&gt;&lt;m_msothmcolidx val=&quot;0&quot;/&gt;&lt;m_rgb r=&quot;00&quot; g=&quot;B0&quot; b=&quot;F0&quot;/&gt;&lt;m_nBrightness endver=&quot;26206&quot; val=&quot;0&quot;/&gt;&lt;/elem&gt;&lt;elem m_fUsage=&quot;1.56933182440755270015E+00&quot;&gt;&lt;m_msothmcolidx val=&quot;0&quot;/&gt;&lt;m_rgb r=&quot;FE&quot; g=&quot;D1&quot; b=&quot;00&quot;/&gt;&lt;m_nBrightness endver=&quot;26206&quot; val=&quot;0&quot;/&gt;&lt;/elem&gt;&lt;elem m_fUsage=&quot;1.33168226612972939726E+00&quot;&gt;&lt;m_msothmcolidx val=&quot;0&quot;/&gt;&lt;m_rgb r=&quot;7A&quot; g=&quot;B8&quot; b=&quot;00&quot;/&gt;&lt;m_nBrightness endver=&quot;26206&quot; val=&quot;0&quot;/&gt;&lt;/elem&gt;&lt;elem m_fUsage=&quot;1.24774334627566374500E+00&quot;&gt;&lt;m_msothmcolidx val=&quot;0&quot;/&gt;&lt;m_rgb r=&quot;FF&quot; g=&quot;79&quot; b=&quot;00&quot;/&gt;&lt;m_nBrightness endver=&quot;26206&quot; val=&quot;0&quot;/&gt;&lt;/elem&gt;&lt;elem m_fUsage=&quot;1.24046721000000004231E+00&quot;&gt;&lt;m_msothmcolidx val=&quot;0&quot;/&gt;&lt;m_rgb r=&quot;8B&quot; g=&quot;8D&quot; b=&quot;8E&quot;/&gt;&lt;m_nBrightness endver=&quot;26206&quot; val=&quot;0&quot;/&gt;&lt;/elem&gt;&lt;elem m_fUsage=&quot;9.50133213077414606751E-01&quot;&gt;&lt;m_msothmcolidx val=&quot;0&quot;/&gt;&lt;m_rgb r=&quot;D9&quot; g=&quot;D9&quot; b=&quot;D9&quot;/&gt;&lt;m_nBrightness endver=&quot;26206&quot; val=&quot;0&quot;/&gt;&lt;/elem&gt;&lt;elem m_fUsage=&quot;5.31441000000000163261E-01&quot;&gt;&lt;m_msothmcolidx val=&quot;0&quot;/&gt;&lt;m_rgb r=&quot;00&quot; g=&quot;70&quot; b=&quot;C0&quot;/&gt;&lt;m_nBrightness endver=&quot;26206&quot; val=&quot;0&quot;/&gt;&lt;/elem&gt;&lt;elem m_fUsage=&quot;2.69838169097222746462E-01&quot;&gt;&lt;m_msothmcolidx val=&quot;0&quot;/&gt;&lt;m_rgb r=&quot;F0&quot; g=&quot;AB&quot; b=&quot;00&quot;/&gt;&lt;m_nBrightness endver=&quot;26206&quot; val=&quot;0&quot;/&gt;&lt;/elem&gt;&lt;elem m_fUsage=&quot;1.50094635296999207030E-01&quot;&gt;&lt;m_msothmcolidx val=&quot;0&quot;/&gt;&lt;m_rgb r=&quot;BF&quot; g=&quot;BF&quot; b=&quot;BF&quot;/&gt;&lt;m_nBrightness endver=&quot;26206&quot; val=&quot;0&quot;/&gt;&lt;/elem&gt;&lt;elem m_fUsage=&quot;1.26760496039561354475E-01&quot;&gt;&lt;m_msothmcolidx val=&quot;0&quot;/&gt;&lt;m_rgb r=&quot;00&quot; g=&quot;C6&quot; b=&quot;D7&quot;/&gt;&lt;m_nBrightness endver=&quot;26206&quot; val=&quot;0&quot;/&gt;&lt;/elem&gt;&lt;elem m_fUsage=&quot;5.80604416227677860851E-02&quot;&gt;&lt;m_msothmcolidx val=&quot;0&quot;/&gt;&lt;m_rgb r=&quot;A6&quot; g=&quot;A6&quot; b=&quot;A6&quot;/&gt;&lt;m_nBrightness endver=&quot;26206&quot; val=&quot;0&quot;/&gt;&lt;/elem&gt;&lt;elem m_fUsage=&quot;4.23911582752162438559E-02&quot;&gt;&lt;m_msothmcolidx val=&quot;0&quot;/&gt;&lt;m_rgb r=&quot;FF&quot; g=&quot;CC&quot; b=&quot;00&quot;/&gt;&lt;m_nBrightness endver=&quot;26206&quot; val=&quot;0&quot;/&gt;&lt;/elem&gt;&lt;elem m_fUsage=&quot;1.64232032682606748919E-02&quot;&gt;&lt;m_msothmcolidx val=&quot;0&quot;/&gt;&lt;m_rgb r=&quot;40&quot; g=&quot;40&quot; b=&quot;40&quot;/&gt;&lt;m_nBrightness endver=&quot;26206&quot; val=&quot;0&quot;/&gt;&lt;/elem&gt;&lt;elem m_fUsage=&quot;1.19725151825620327456E-02&quot;&gt;&lt;m_msothmcolidx val=&quot;0&quot;/&gt;&lt;m_rgb r=&quot;59&quot; g=&quot;59&quot; b=&quot;59&quot;/&gt;&lt;m_nBrightness endver=&quot;26206&quot; val=&quot;0&quot;/&gt;&lt;/elem&gt;&lt;/m_vecMRU&gt;&lt;/m_mruColor&gt;&lt;m_eweekdayFirstOfWeek val=&quot;2&quot;/&gt;&lt;m_eweekdayFirstOfWorkweek val=&quot;7&quot;/&gt;&lt;m_eweekdayFirstOfWeekend val=&quot;6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nNMuRoRsKWBVSsXj8A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nj5SBdYTrarGdX7ITIPS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nNMuRoRsKWBVSsXj8Apg"/>
</p:tagLst>
</file>

<file path=ppt/theme/theme1.xml><?xml version="1.0" encoding="utf-8"?>
<a:theme xmlns:a="http://schemas.openxmlformats.org/drawingml/2006/main" name="Тема Office">
  <a:themeElements>
    <a:clrScheme name="Другая 1">
      <a:dk1>
        <a:srgbClr val="1F1F1F"/>
      </a:dk1>
      <a:lt1>
        <a:srgbClr val="FFFFFF"/>
      </a:lt1>
      <a:dk2>
        <a:srgbClr val="E0E1DD"/>
      </a:dk2>
      <a:lt2>
        <a:srgbClr val="3E3E3E"/>
      </a:lt2>
      <a:accent1>
        <a:srgbClr val="FED100"/>
      </a:accent1>
      <a:accent2>
        <a:srgbClr val="F0AB00"/>
      </a:accent2>
      <a:accent3>
        <a:srgbClr val="FF7900"/>
      </a:accent3>
      <a:accent4>
        <a:srgbClr val="7AB800"/>
      </a:accent4>
      <a:accent5>
        <a:srgbClr val="00C6D7"/>
      </a:accent5>
      <a:accent6>
        <a:srgbClr val="8B8D8E"/>
      </a:accent6>
      <a:hlink>
        <a:srgbClr val="F2F2F2"/>
      </a:hlink>
      <a:folHlink>
        <a:srgbClr val="5F5F5F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PersistId xmlns="97db80ef-8897-4443-9647-fc925e4dc7fa" xsi:nil="true"/>
    <_dlc_DocId xmlns="97db80ef-8897-4443-9647-fc925e4dc7fa">RFVZFEY2RDD7-1210822356-3269</_dlc_DocId>
    <_dlc_DocIdUrl xmlns="97db80ef-8897-4443-9647-fc925e4dc7fa">
      <Url>https://portal.dtek.com/businessprocess/_layouts/15/DocIdRedir.aspx?ID=RFVZFEY2RDD7-1210822356-3269</Url>
      <Description>RFVZFEY2RDD7-1210822356-3269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E711C65A8419FB4A8D599CC812D10213" ma:contentTypeVersion="3" ma:contentTypeDescription="Создание документа." ma:contentTypeScope="" ma:versionID="c5cf75423e85ec97b7bb852d3f7f74b5">
  <xsd:schema xmlns:xsd="http://www.w3.org/2001/XMLSchema" xmlns:xs="http://www.w3.org/2001/XMLSchema" xmlns:p="http://schemas.microsoft.com/office/2006/metadata/properties" xmlns:ns2="97db80ef-8897-4443-9647-fc925e4dc7fa" targetNamespace="http://schemas.microsoft.com/office/2006/metadata/properties" ma:root="true" ma:fieldsID="4365b59fdceafa0d8425495b74d63702" ns2:_="">
    <xsd:import namespace="97db80ef-8897-4443-9647-fc925e4dc7f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db80ef-8897-4443-9647-fc925e4dc7fa" elementFormDefault="qualified">
    <xsd:import namespace="http://schemas.microsoft.com/office/2006/documentManagement/types"/>
    <xsd:import namespace="http://schemas.microsoft.com/office/infopath/2007/PartnerControls"/>
    <xsd:element name="_dlc_DocId" ma:index="4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5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6" nillable="true" ma:displayName="Сохранить идентификатор" ma:description="Сохранять идентификатор при добавлении." ma:hidden="true" ma:internalName="_dlc_DocIdPersistId" ma:readOnly="fals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7" ma:displayName="Тип контента"/>
        <xsd:element ref="dc:title" minOccurs="0" maxOccurs="1" ma:index="3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DAB1D8B6-6A69-4CED-B25F-AC096D8A983C}">
  <ds:schemaRefs>
    <ds:schemaRef ds:uri="97db80ef-8897-4443-9647-fc925e4dc7fa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http://purl.org/dc/elements/1.1/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AF6E445-E7B2-4B19-8E46-D70D9CAE6FE7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E1BF235-8ED8-40D2-937B-7C021379A08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7db80ef-8897-4443-9647-fc925e4dc7f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D2AF68DB-DC56-4409-ADA0-3015CB30195E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6607</TotalTime>
  <Words>175</Words>
  <Application>Microsoft Office PowerPoint</Application>
  <PresentationFormat>Произвольный</PresentationFormat>
  <Paragraphs>27</Paragraphs>
  <Slides>9</Slides>
  <Notes>0</Notes>
  <HiddenSlides>0</HiddenSlides>
  <MMClips>1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Arial</vt:lpstr>
      <vt:lpstr>Calibri</vt:lpstr>
      <vt:lpstr>Calibri Light</vt:lpstr>
      <vt:lpstr>Тема Office</vt:lpstr>
      <vt:lpstr>think-cell Slide</vt:lpstr>
      <vt:lpstr>Правовое регулирование в альтернативной энергетике – поддержка или препятствие?</vt:lpstr>
      <vt:lpstr>Презентация PowerPoint</vt:lpstr>
      <vt:lpstr>Мировые тренды в энергетике</vt:lpstr>
      <vt:lpstr>Текущая ситуация на рынке альтернативной энергетики Украины</vt:lpstr>
      <vt:lpstr>Балансирующие мощности, почему это важно? </vt:lpstr>
      <vt:lpstr>Нормативная база: проблематика и перспективы </vt:lpstr>
      <vt:lpstr>Нормативная база: проблематика и перспективы</vt:lpstr>
      <vt:lpstr>Спасибо за внимание!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Burmistenko Yuliya</dc:creator>
  <cp:lastModifiedBy>Denis Gritsyak</cp:lastModifiedBy>
  <cp:revision>1822</cp:revision>
  <cp:lastPrinted>2019-08-09T12:42:09Z</cp:lastPrinted>
  <dcterms:created xsi:type="dcterms:W3CDTF">2019-02-19T11:32:27Z</dcterms:created>
  <dcterms:modified xsi:type="dcterms:W3CDTF">2019-11-12T22:20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11C65A8419FB4A8D599CC812D10213</vt:lpwstr>
  </property>
  <property fmtid="{D5CDD505-2E9C-101B-9397-08002B2CF9AE}" pid="3" name="_dlc_DocIdItemGuid">
    <vt:lpwstr>7f987146-fe27-4313-93d9-c3bd0ff6b52e</vt:lpwstr>
  </property>
</Properties>
</file>